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0" r:id="rId4"/>
    <p:sldMasterId id="2147483979" r:id="rId5"/>
  </p:sldMasterIdLst>
  <p:notesMasterIdLst>
    <p:notesMasterId r:id="rId19"/>
  </p:notesMasterIdLst>
  <p:sldIdLst>
    <p:sldId id="259" r:id="rId6"/>
    <p:sldId id="3316" r:id="rId7"/>
    <p:sldId id="3315" r:id="rId8"/>
    <p:sldId id="3317" r:id="rId9"/>
    <p:sldId id="3321" r:id="rId10"/>
    <p:sldId id="3319" r:id="rId11"/>
    <p:sldId id="3318" r:id="rId12"/>
    <p:sldId id="3320" r:id="rId13"/>
    <p:sldId id="3322" r:id="rId14"/>
    <p:sldId id="3323" r:id="rId15"/>
    <p:sldId id="3324" r:id="rId16"/>
    <p:sldId id="3325" r:id="rId17"/>
    <p:sldId id="3326" r:id="rId18"/>
  </p:sldIdLst>
  <p:sldSz cx="24377650" cy="13716000"/>
  <p:notesSz cx="6858000" cy="9144000"/>
  <p:custDataLst>
    <p:tags r:id="rId20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3" orient="horz" pos="480" userDrawn="1">
          <p15:clr>
            <a:srgbClr val="A4A3A4"/>
          </p15:clr>
        </p15:guide>
        <p15:guide id="54" orient="horz" pos="8160" userDrawn="1">
          <p15:clr>
            <a:srgbClr val="A4A3A4"/>
          </p15:clr>
        </p15:guide>
        <p15:guide id="55" pos="14398" userDrawn="1">
          <p15:clr>
            <a:srgbClr val="A4A3A4"/>
          </p15:clr>
        </p15:guide>
        <p15:guide id="56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713852"/>
    <a:srgbClr val="4E9EE0"/>
    <a:srgbClr val="2585D3"/>
    <a:srgbClr val="179B98"/>
    <a:srgbClr val="E6D2D5"/>
    <a:srgbClr val="2684D3"/>
    <a:srgbClr val="2381D2"/>
    <a:srgbClr val="2889D3"/>
    <a:srgbClr val="F5927C"/>
    <a:srgbClr val="F57A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09" autoAdjust="0"/>
    <p:restoredTop sz="95439" autoAdjust="0"/>
  </p:normalViewPr>
  <p:slideViewPr>
    <p:cSldViewPr snapToGrid="0" snapToObjects="1">
      <p:cViewPr>
        <p:scale>
          <a:sx n="25" d="100"/>
          <a:sy n="25" d="100"/>
        </p:scale>
        <p:origin x="268" y="360"/>
      </p:cViewPr>
      <p:guideLst>
        <p:guide orient="horz" pos="480"/>
        <p:guide orient="horz" pos="8160"/>
        <p:guide pos="14398"/>
        <p:guide pos="958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Previsão para 2018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9A-4F7C-9A33-DB0C7B069E8B}"/>
              </c:ext>
            </c:extLst>
          </c:dPt>
          <c:dPt>
            <c:idx val="1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9A-4F7C-9A33-DB0C7B069E8B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9A-4F7C-9A33-DB0C7B069E8B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9A-4F7C-9A33-DB0C7B069E8B}"/>
              </c:ext>
            </c:extLst>
          </c:dPt>
          <c:dLbls>
            <c:dLbl>
              <c:idx val="0"/>
              <c:layout>
                <c:manualLayout>
                  <c:x val="0.11974354369955348"/>
                  <c:y val="-6.8481060362422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D9A-4F7C-9A33-DB0C7B069E8B}"/>
                </c:ext>
              </c:extLst>
            </c:dLbl>
            <c:dLbl>
              <c:idx val="1"/>
              <c:layout>
                <c:manualLayout>
                  <c:x val="8.7605266284213126E-2"/>
                  <c:y val="0.116346529280725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D9A-4F7C-9A33-DB0C7B069E8B}"/>
                </c:ext>
              </c:extLst>
            </c:dLbl>
            <c:dLbl>
              <c:idx val="2"/>
              <c:layout>
                <c:manualLayout>
                  <c:x val="-0.1619213796511666"/>
                  <c:y val="5.40585714169237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D9A-4F7C-9A33-DB0C7B069E8B}"/>
                </c:ext>
              </c:extLst>
            </c:dLbl>
            <c:dLbl>
              <c:idx val="3"/>
              <c:layout>
                <c:manualLayout>
                  <c:x val="-7.7695902535802011E-2"/>
                  <c:y val="-9.71894706612951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D9A-4F7C-9A33-DB0C7B069E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1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3.5</c:v>
                </c:pt>
                <c:pt idx="1">
                  <c:v>3.8</c:v>
                </c:pt>
                <c:pt idx="2">
                  <c:v>4.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9A-4F7C-9A33-DB0C7B069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3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000073854417751E-2"/>
          <c:y val="0.92200405127875285"/>
          <c:w val="0.89999985229116453"/>
          <c:h val="6.2590535480849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chemeClr val="bg1"/>
          </a:solidFill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304487558324748E-2"/>
          <c:y val="0.11884989914968502"/>
          <c:w val="0.96669550910277058"/>
          <c:h val="0.8811501046476079"/>
        </c:manualLayout>
      </c:layout>
      <c:line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38100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7638333080053375E-2"/>
                  <c:y val="-4.03713177625235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B0-4C66-B990-C30069CCCEA0}"/>
                </c:ext>
              </c:extLst>
            </c:dLbl>
            <c:dLbl>
              <c:idx val="1"/>
              <c:layout>
                <c:manualLayout>
                  <c:x val="-2.5500931507466129E-2"/>
                  <c:y val="-4.79295284145692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B0-4C66-B990-C30069CCCEA0}"/>
                </c:ext>
              </c:extLst>
            </c:dLbl>
            <c:dLbl>
              <c:idx val="3"/>
              <c:layout>
                <c:manualLayout>
                  <c:x val="-4.5793019603871431E-3"/>
                  <c:y val="-7.561808343766723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B0-4C66-B990-C30069CCCE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0-4C66-B990-C30069CCCEA0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76200" cap="rnd">
              <a:solidFill>
                <a:srgbClr val="92DADB"/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1033241589697693E-2"/>
                  <c:y val="-6.38813337362748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B0-4C66-B990-C30069CCCEA0}"/>
                </c:ext>
              </c:extLst>
            </c:dLbl>
            <c:dLbl>
              <c:idx val="2"/>
              <c:layout>
                <c:manualLayout>
                  <c:x val="-2.0376655466063296E-2"/>
                  <c:y val="4.34917756767258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B0-4C66-B990-C30069CCCEA0}"/>
                </c:ext>
              </c:extLst>
            </c:dLbl>
            <c:dLbl>
              <c:idx val="3"/>
              <c:layout>
                <c:manualLayout>
                  <c:x val="-4.2933770100580292E-3"/>
                  <c:y val="-2.04751831225085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6B0-4C66-B990-C30069CCCE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6B0-4C66-B990-C30069CCCEA0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57150" cap="rnd">
              <a:solidFill>
                <a:srgbClr val="FFBEA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7535276272169033E-2"/>
                  <c:y val="3.28059117270359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6B0-4C66-B990-C30069CCCEA0}"/>
                </c:ext>
              </c:extLst>
            </c:dLbl>
            <c:dLbl>
              <c:idx val="1"/>
              <c:layout>
                <c:manualLayout>
                  <c:x val="-2.1109338151281316E-2"/>
                  <c:y val="3.28059117270359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6B0-4C66-B990-C30069CCCEA0}"/>
                </c:ext>
              </c:extLst>
            </c:dLbl>
            <c:dLbl>
              <c:idx val="2"/>
              <c:layout>
                <c:manualLayout>
                  <c:x val="-5.0260596952760471E-3"/>
                  <c:y val="2.82368021126051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0-4C66-B990-C30069CCCEA0}"/>
                </c:ext>
              </c:extLst>
            </c:dLbl>
            <c:dLbl>
              <c:idx val="3"/>
              <c:layout>
                <c:manualLayout>
                  <c:x val="-8.1533638394992933E-3"/>
                  <c:y val="-3.04071507720646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0-4C66-B990-C30069CCCE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6B0-4C66-B990-C30069CCCE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7699040"/>
        <c:axId val="387698712"/>
      </c:lineChart>
      <c:catAx>
        <c:axId val="387699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7698712"/>
        <c:crosses val="autoZero"/>
        <c:auto val="1"/>
        <c:lblAlgn val="ctr"/>
        <c:lblOffset val="100"/>
        <c:noMultiLvlLbl val="0"/>
      </c:catAx>
      <c:valAx>
        <c:axId val="387698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7699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/>
          </a:solidFill>
        </a:defRPr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6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6604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26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2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32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3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59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0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1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482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86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8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75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DA0AA0E0-6104-40E8-8934-8A542321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004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11AFC74-C064-4FDC-8A45-1137BF87341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600" b="1" i="0" baseline="0" dirty="0">
              <a:latin typeface="Fira Sans" panose="020B0503050000020004"/>
              <a:ea typeface="+mj-ea"/>
              <a:cs typeface="+mj-cs"/>
              <a:sym typeface="Fira Sans" panose="020B05030500000200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E8C5F1-B83D-344B-9AF9-42D755A77CDC}"/>
              </a:ext>
            </a:extLst>
          </p:cNvPr>
          <p:cNvSpPr/>
          <p:nvPr userDrawn="1"/>
        </p:nvSpPr>
        <p:spPr>
          <a:xfrm>
            <a:off x="22174494" y="12373805"/>
            <a:ext cx="817586" cy="81758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14FEE86-28D8-2B49-A496-80235725B73B}"/>
              </a:ext>
            </a:extLst>
          </p:cNvPr>
          <p:cNvSpPr/>
          <p:nvPr userDrawn="1"/>
        </p:nvSpPr>
        <p:spPr>
          <a:xfrm>
            <a:off x="22236348" y="12435659"/>
            <a:ext cx="693877" cy="6938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6FEFB-1B47-144A-92EC-F20F29E731C4}"/>
              </a:ext>
            </a:extLst>
          </p:cNvPr>
          <p:cNvSpPr txBox="1"/>
          <p:nvPr userDrawn="1"/>
        </p:nvSpPr>
        <p:spPr>
          <a:xfrm>
            <a:off x="22307409" y="12551764"/>
            <a:ext cx="551754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fld id="{260E2A6B-A809-4840-BF14-8648BC0BDF87}" type="slidenum">
              <a:rPr lang="id-ID" sz="2400" b="0" i="0" smtClean="0">
                <a:solidFill>
                  <a:schemeClr val="accent1"/>
                </a:solidFill>
                <a:latin typeface="Fira Sans" panose="020B0503050000020004" pitchFamily="34" charset="0"/>
                <a:ea typeface="Roboto" panose="02000000000000000000" pitchFamily="2" charset="0"/>
                <a:cs typeface="Open Sans" charset="0"/>
              </a:rPr>
              <a:pPr algn="ctr"/>
              <a:t>‹nº›</a:t>
            </a:fld>
            <a:endParaRPr lang="id-ID" sz="2800" b="0" i="0" dirty="0">
              <a:solidFill>
                <a:schemeClr val="accent1"/>
              </a:solidFill>
              <a:latin typeface="Fira Sans" panose="020B0503050000020004" pitchFamily="34" charset="0"/>
              <a:ea typeface="Roboto" panose="02000000000000000000" pitchFamily="2" charset="0"/>
              <a:cs typeface="Open Sans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chemeClr val="tx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6A8DAC6-1F29-4E0F-A766-A70EB7380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59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460E92C-BF41-4D91-8CFC-B466B7BF711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87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869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sv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061359"/>
          </a:xfrm>
          <a:prstGeom prst="rect">
            <a:avLst/>
          </a:prstGeom>
          <a:solidFill>
            <a:srgbClr val="043C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r>
              <a:rPr lang="pt-BR" sz="3599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</p:txBody>
      </p:sp>
      <p:grpSp>
        <p:nvGrpSpPr>
          <p:cNvPr id="16" name="Agrupar 15"/>
          <p:cNvGrpSpPr/>
          <p:nvPr/>
        </p:nvGrpSpPr>
        <p:grpSpPr>
          <a:xfrm>
            <a:off x="20991499" y="580367"/>
            <a:ext cx="3040834" cy="1114434"/>
            <a:chOff x="10206269" y="175334"/>
            <a:chExt cx="1813027" cy="664457"/>
          </a:xfrm>
        </p:grpSpPr>
        <p:sp>
          <p:nvSpPr>
            <p:cNvPr id="6" name="Elipse 5"/>
            <p:cNvSpPr/>
            <p:nvPr/>
          </p:nvSpPr>
          <p:spPr>
            <a:xfrm>
              <a:off x="11436416" y="371967"/>
              <a:ext cx="467825" cy="46782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343"/>
              <a:endParaRPr lang="pt-BR" sz="23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" name="Agrupar 7"/>
            <p:cNvGrpSpPr/>
            <p:nvPr/>
          </p:nvGrpSpPr>
          <p:grpSpPr>
            <a:xfrm>
              <a:off x="10872165" y="371917"/>
              <a:ext cx="467825" cy="467822"/>
              <a:chOff x="8518786" y="2003913"/>
              <a:chExt cx="151623" cy="151622"/>
            </a:xfrm>
          </p:grpSpPr>
          <p:sp>
            <p:nvSpPr>
              <p:cNvPr id="9" name="Elipse 8"/>
              <p:cNvSpPr/>
              <p:nvPr/>
            </p:nvSpPr>
            <p:spPr>
              <a:xfrm>
                <a:off x="8518786" y="2003913"/>
                <a:ext cx="151623" cy="151622"/>
              </a:xfrm>
              <a:prstGeom prst="ellipse">
                <a:avLst/>
              </a:prstGeom>
              <a:solidFill>
                <a:srgbClr val="043C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23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" name="Retângulo 9"/>
              <p:cNvSpPr/>
              <p:nvPr/>
            </p:nvSpPr>
            <p:spPr>
              <a:xfrm>
                <a:off x="8558284" y="2063308"/>
                <a:ext cx="72627" cy="41665"/>
              </a:xfrm>
              <a:prstGeom prst="rect">
                <a:avLst/>
              </a:prstGeom>
              <a:noFill/>
              <a:ln w="25400" cap="sq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35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" name="Agrupar 10"/>
            <p:cNvGrpSpPr/>
            <p:nvPr/>
          </p:nvGrpSpPr>
          <p:grpSpPr>
            <a:xfrm>
              <a:off x="10206269" y="175334"/>
              <a:ext cx="690357" cy="664405"/>
              <a:chOff x="8302967" y="1940200"/>
              <a:chExt cx="223746" cy="215335"/>
            </a:xfrm>
          </p:grpSpPr>
          <p:sp>
            <p:nvSpPr>
              <p:cNvPr id="12" name="Elipse 11"/>
              <p:cNvSpPr/>
              <p:nvPr/>
            </p:nvSpPr>
            <p:spPr>
              <a:xfrm>
                <a:off x="8337811" y="2003913"/>
                <a:ext cx="151623" cy="151622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23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CaixaDeTexto 12"/>
              <p:cNvSpPr txBox="1"/>
              <p:nvPr/>
            </p:nvSpPr>
            <p:spPr>
              <a:xfrm>
                <a:off x="8302967" y="1940200"/>
                <a:ext cx="223746" cy="184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828343"/>
                <a:r>
                  <a:rPr lang="pt-BR" sz="5599" b="1" dirty="0">
                    <a:solidFill>
                      <a:prstClr val="white"/>
                    </a:solidFill>
                    <a:latin typeface="Calibri" panose="020F0502020204030204"/>
                  </a:rPr>
                  <a:t>_</a:t>
                </a:r>
              </a:p>
            </p:txBody>
          </p:sp>
        </p:grpSp>
        <p:sp>
          <p:nvSpPr>
            <p:cNvPr id="15" name="CaixaDeTexto 14"/>
            <p:cNvSpPr txBox="1"/>
            <p:nvPr/>
          </p:nvSpPr>
          <p:spPr>
            <a:xfrm>
              <a:off x="11328939" y="378532"/>
              <a:ext cx="690357" cy="4219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828343"/>
              <a:r>
                <a:rPr lang="pt-BR" sz="3999" dirty="0">
                  <a:solidFill>
                    <a:prstClr val="white"/>
                  </a:solidFill>
                  <a:latin typeface="Calibri" panose="020F0502020204030204"/>
                </a:rPr>
                <a:t>X</a:t>
              </a:r>
            </a:p>
          </p:txBody>
        </p:sp>
      </p:grpSp>
      <p:sp>
        <p:nvSpPr>
          <p:cNvPr id="17" name="Triângulo Retângulo 16"/>
          <p:cNvSpPr/>
          <p:nvPr/>
        </p:nvSpPr>
        <p:spPr>
          <a:xfrm flipH="1">
            <a:off x="1461147" y="10814553"/>
            <a:ext cx="894711" cy="894711"/>
          </a:xfrm>
          <a:prstGeom prst="rtTriangle">
            <a:avLst/>
          </a:prstGeom>
          <a:solidFill>
            <a:srgbClr val="ECC5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2879610" y="6268873"/>
            <a:ext cx="0" cy="7160279"/>
          </a:xfrm>
          <a:prstGeom prst="line">
            <a:avLst/>
          </a:prstGeom>
          <a:ln w="38100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031970" y="5143937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6398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" name="Retângulo 20"/>
          <p:cNvSpPr/>
          <p:nvPr/>
        </p:nvSpPr>
        <p:spPr>
          <a:xfrm rot="2700000">
            <a:off x="2309605" y="5581687"/>
            <a:ext cx="459112" cy="459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tângulo 21"/>
          <p:cNvSpPr/>
          <p:nvPr/>
        </p:nvSpPr>
        <p:spPr>
          <a:xfrm rot="2700000">
            <a:off x="3195627" y="6630126"/>
            <a:ext cx="222888" cy="22288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693677" y="4754874"/>
            <a:ext cx="1170127" cy="830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4799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665390" y="7388774"/>
            <a:ext cx="1170127" cy="523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2799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1979337" y="8206842"/>
            <a:ext cx="1170127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199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6" name="Forma Livre: Forma 25"/>
          <p:cNvSpPr/>
          <p:nvPr/>
        </p:nvSpPr>
        <p:spPr>
          <a:xfrm>
            <a:off x="2174393" y="9893970"/>
            <a:ext cx="171405" cy="757993"/>
          </a:xfrm>
          <a:custGeom>
            <a:avLst/>
            <a:gdLst>
              <a:gd name="connsiteX0" fmla="*/ 80010 w 85725"/>
              <a:gd name="connsiteY0" fmla="*/ 0 h 379095"/>
              <a:gd name="connsiteX1" fmla="*/ 0 w 85725"/>
              <a:gd name="connsiteY1" fmla="*/ 55245 h 379095"/>
              <a:gd name="connsiteX2" fmla="*/ 83820 w 85725"/>
              <a:gd name="connsiteY2" fmla="*/ 112395 h 379095"/>
              <a:gd name="connsiteX3" fmla="*/ 5715 w 85725"/>
              <a:gd name="connsiteY3" fmla="*/ 169545 h 379095"/>
              <a:gd name="connsiteX4" fmla="*/ 85725 w 85725"/>
              <a:gd name="connsiteY4" fmla="*/ 219075 h 379095"/>
              <a:gd name="connsiteX5" fmla="*/ 3810 w 85725"/>
              <a:gd name="connsiteY5" fmla="*/ 274320 h 379095"/>
              <a:gd name="connsiteX6" fmla="*/ 81915 w 85725"/>
              <a:gd name="connsiteY6" fmla="*/ 321945 h 379095"/>
              <a:gd name="connsiteX7" fmla="*/ 5715 w 85725"/>
              <a:gd name="connsiteY7" fmla="*/ 379095 h 37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725" h="379095">
                <a:moveTo>
                  <a:pt x="80010" y="0"/>
                </a:moveTo>
                <a:lnTo>
                  <a:pt x="0" y="55245"/>
                </a:lnTo>
                <a:lnTo>
                  <a:pt x="83820" y="112395"/>
                </a:lnTo>
                <a:lnTo>
                  <a:pt x="5715" y="169545"/>
                </a:lnTo>
                <a:lnTo>
                  <a:pt x="85725" y="219075"/>
                </a:lnTo>
                <a:lnTo>
                  <a:pt x="3810" y="274320"/>
                </a:lnTo>
                <a:lnTo>
                  <a:pt x="81915" y="321945"/>
                </a:lnTo>
                <a:lnTo>
                  <a:pt x="5715" y="379095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298325" y="5296013"/>
            <a:ext cx="16771579" cy="2613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343">
              <a:lnSpc>
                <a:spcPct val="120000"/>
              </a:lnSpc>
            </a:pPr>
            <a:r>
              <a:rPr lang="pt-BR" sz="6398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MPLATE PARA </a:t>
            </a:r>
          </a:p>
          <a:p>
            <a:pPr defTabSz="1828343">
              <a:lnSpc>
                <a:spcPct val="120000"/>
              </a:lnSpc>
            </a:pPr>
            <a:r>
              <a:rPr lang="pt-BR" sz="7998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RESENTAÇÕES DE </a:t>
            </a:r>
            <a:r>
              <a:rPr lang="pt-BR" sz="7998" b="1" dirty="0">
                <a:solidFill>
                  <a:srgbClr val="ECC52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CNOLOGIA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804475" y="3123165"/>
            <a:ext cx="1170127" cy="156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9598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30" name="Retângulo 29"/>
          <p:cNvSpPr/>
          <p:nvPr/>
        </p:nvSpPr>
        <p:spPr>
          <a:xfrm rot="2700000">
            <a:off x="3144944" y="2984822"/>
            <a:ext cx="639463" cy="639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24" name="Agrupar 123"/>
          <p:cNvGrpSpPr/>
          <p:nvPr/>
        </p:nvGrpSpPr>
        <p:grpSpPr>
          <a:xfrm>
            <a:off x="5697164" y="10230096"/>
            <a:ext cx="1991393" cy="1252616"/>
            <a:chOff x="2849324" y="5115487"/>
            <a:chExt cx="995956" cy="626471"/>
          </a:xfrm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3205390" y="5319838"/>
              <a:ext cx="181646" cy="184742"/>
            </a:xfrm>
            <a:custGeom>
              <a:avLst/>
              <a:gdLst>
                <a:gd name="T0" fmla="*/ 6 w 66"/>
                <a:gd name="T1" fmla="*/ 67 h 67"/>
                <a:gd name="T2" fmla="*/ 3 w 66"/>
                <a:gd name="T3" fmla="*/ 66 h 67"/>
                <a:gd name="T4" fmla="*/ 0 w 66"/>
                <a:gd name="T5" fmla="*/ 61 h 67"/>
                <a:gd name="T6" fmla="*/ 0 w 66"/>
                <a:gd name="T7" fmla="*/ 6 h 67"/>
                <a:gd name="T8" fmla="*/ 3 w 66"/>
                <a:gd name="T9" fmla="*/ 1 h 67"/>
                <a:gd name="T10" fmla="*/ 8 w 66"/>
                <a:gd name="T11" fmla="*/ 1 h 67"/>
                <a:gd name="T12" fmla="*/ 63 w 66"/>
                <a:gd name="T13" fmla="*/ 28 h 67"/>
                <a:gd name="T14" fmla="*/ 66 w 66"/>
                <a:gd name="T15" fmla="*/ 34 h 67"/>
                <a:gd name="T16" fmla="*/ 63 w 66"/>
                <a:gd name="T17" fmla="*/ 39 h 67"/>
                <a:gd name="T18" fmla="*/ 8 w 66"/>
                <a:gd name="T19" fmla="*/ 66 h 67"/>
                <a:gd name="T20" fmla="*/ 6 w 66"/>
                <a:gd name="T21" fmla="*/ 67 h 67"/>
                <a:gd name="T22" fmla="*/ 12 w 66"/>
                <a:gd name="T23" fmla="*/ 16 h 67"/>
                <a:gd name="T24" fmla="*/ 12 w 66"/>
                <a:gd name="T25" fmla="*/ 51 h 67"/>
                <a:gd name="T26" fmla="*/ 47 w 66"/>
                <a:gd name="T27" fmla="*/ 34 h 67"/>
                <a:gd name="T28" fmla="*/ 12 w 66"/>
                <a:gd name="T29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7">
                  <a:moveTo>
                    <a:pt x="6" y="67"/>
                  </a:moveTo>
                  <a:cubicBezTo>
                    <a:pt x="5" y="67"/>
                    <a:pt x="4" y="66"/>
                    <a:pt x="3" y="66"/>
                  </a:cubicBezTo>
                  <a:cubicBezTo>
                    <a:pt x="1" y="65"/>
                    <a:pt x="0" y="63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9"/>
                    <a:pt x="66" y="31"/>
                    <a:pt x="66" y="34"/>
                  </a:cubicBezTo>
                  <a:cubicBezTo>
                    <a:pt x="66" y="36"/>
                    <a:pt x="65" y="38"/>
                    <a:pt x="63" y="3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7"/>
                    <a:pt x="7" y="67"/>
                    <a:pt x="6" y="67"/>
                  </a:cubicBezTo>
                  <a:close/>
                  <a:moveTo>
                    <a:pt x="12" y="16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47" y="34"/>
                    <a:pt x="47" y="34"/>
                    <a:pt x="47" y="34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2849324" y="5115487"/>
              <a:ext cx="852497" cy="519136"/>
            </a:xfrm>
            <a:custGeom>
              <a:avLst/>
              <a:gdLst>
                <a:gd name="T0" fmla="*/ 303 w 309"/>
                <a:gd name="T1" fmla="*/ 188 h 188"/>
                <a:gd name="T2" fmla="*/ 6 w 309"/>
                <a:gd name="T3" fmla="*/ 188 h 188"/>
                <a:gd name="T4" fmla="*/ 0 w 309"/>
                <a:gd name="T5" fmla="*/ 182 h 188"/>
                <a:gd name="T6" fmla="*/ 0 w 309"/>
                <a:gd name="T7" fmla="*/ 17 h 188"/>
                <a:gd name="T8" fmla="*/ 17 w 309"/>
                <a:gd name="T9" fmla="*/ 0 h 188"/>
                <a:gd name="T10" fmla="*/ 293 w 309"/>
                <a:gd name="T11" fmla="*/ 0 h 188"/>
                <a:gd name="T12" fmla="*/ 309 w 309"/>
                <a:gd name="T13" fmla="*/ 17 h 188"/>
                <a:gd name="T14" fmla="*/ 309 w 309"/>
                <a:gd name="T15" fmla="*/ 182 h 188"/>
                <a:gd name="T16" fmla="*/ 303 w 309"/>
                <a:gd name="T17" fmla="*/ 188 h 188"/>
                <a:gd name="T18" fmla="*/ 12 w 309"/>
                <a:gd name="T19" fmla="*/ 176 h 188"/>
                <a:gd name="T20" fmla="*/ 297 w 309"/>
                <a:gd name="T21" fmla="*/ 176 h 188"/>
                <a:gd name="T22" fmla="*/ 297 w 309"/>
                <a:gd name="T23" fmla="*/ 17 h 188"/>
                <a:gd name="T24" fmla="*/ 293 w 309"/>
                <a:gd name="T25" fmla="*/ 12 h 188"/>
                <a:gd name="T26" fmla="*/ 17 w 309"/>
                <a:gd name="T27" fmla="*/ 12 h 188"/>
                <a:gd name="T28" fmla="*/ 12 w 309"/>
                <a:gd name="T29" fmla="*/ 17 h 188"/>
                <a:gd name="T30" fmla="*/ 12 w 309"/>
                <a:gd name="T31" fmla="*/ 17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88">
                  <a:moveTo>
                    <a:pt x="303" y="188"/>
                  </a:moveTo>
                  <a:cubicBezTo>
                    <a:pt x="6" y="188"/>
                    <a:pt x="6" y="188"/>
                    <a:pt x="6" y="188"/>
                  </a:cubicBezTo>
                  <a:cubicBezTo>
                    <a:pt x="3" y="188"/>
                    <a:pt x="0" y="186"/>
                    <a:pt x="0" y="18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302" y="0"/>
                    <a:pt x="309" y="8"/>
                    <a:pt x="309" y="17"/>
                  </a:cubicBezTo>
                  <a:cubicBezTo>
                    <a:pt x="309" y="182"/>
                    <a:pt x="309" y="182"/>
                    <a:pt x="309" y="182"/>
                  </a:cubicBezTo>
                  <a:cubicBezTo>
                    <a:pt x="309" y="186"/>
                    <a:pt x="307" y="188"/>
                    <a:pt x="303" y="188"/>
                  </a:cubicBezTo>
                  <a:close/>
                  <a:moveTo>
                    <a:pt x="12" y="176"/>
                  </a:moveTo>
                  <a:cubicBezTo>
                    <a:pt x="297" y="176"/>
                    <a:pt x="297" y="176"/>
                    <a:pt x="297" y="176"/>
                  </a:cubicBezTo>
                  <a:cubicBezTo>
                    <a:pt x="297" y="17"/>
                    <a:pt x="297" y="17"/>
                    <a:pt x="297" y="17"/>
                  </a:cubicBezTo>
                  <a:cubicBezTo>
                    <a:pt x="297" y="14"/>
                    <a:pt x="295" y="12"/>
                    <a:pt x="293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2" y="14"/>
                    <a:pt x="12" y="17"/>
                  </a:cubicBezTo>
                  <a:lnTo>
                    <a:pt x="12" y="1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2940147" y="5601595"/>
              <a:ext cx="905133" cy="140363"/>
            </a:xfrm>
            <a:custGeom>
              <a:avLst/>
              <a:gdLst>
                <a:gd name="T0" fmla="*/ 322 w 328"/>
                <a:gd name="T1" fmla="*/ 51 h 51"/>
                <a:gd name="T2" fmla="*/ 6 w 328"/>
                <a:gd name="T3" fmla="*/ 51 h 51"/>
                <a:gd name="T4" fmla="*/ 0 w 328"/>
                <a:gd name="T5" fmla="*/ 45 h 51"/>
                <a:gd name="T6" fmla="*/ 0 w 328"/>
                <a:gd name="T7" fmla="*/ 6 h 51"/>
                <a:gd name="T8" fmla="*/ 6 w 328"/>
                <a:gd name="T9" fmla="*/ 0 h 51"/>
                <a:gd name="T10" fmla="*/ 322 w 328"/>
                <a:gd name="T11" fmla="*/ 0 h 51"/>
                <a:gd name="T12" fmla="*/ 328 w 328"/>
                <a:gd name="T13" fmla="*/ 6 h 51"/>
                <a:gd name="T14" fmla="*/ 328 w 328"/>
                <a:gd name="T15" fmla="*/ 45 h 51"/>
                <a:gd name="T16" fmla="*/ 322 w 328"/>
                <a:gd name="T17" fmla="*/ 51 h 51"/>
                <a:gd name="T18" fmla="*/ 12 w 328"/>
                <a:gd name="T19" fmla="*/ 39 h 51"/>
                <a:gd name="T20" fmla="*/ 316 w 328"/>
                <a:gd name="T21" fmla="*/ 39 h 51"/>
                <a:gd name="T22" fmla="*/ 316 w 328"/>
                <a:gd name="T23" fmla="*/ 12 h 51"/>
                <a:gd name="T24" fmla="*/ 12 w 328"/>
                <a:gd name="T25" fmla="*/ 12 h 51"/>
                <a:gd name="T26" fmla="*/ 12 w 328"/>
                <a:gd name="T27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8" h="51">
                  <a:moveTo>
                    <a:pt x="322" y="51"/>
                  </a:move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8"/>
                    <a:pt x="0" y="4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5" y="0"/>
                    <a:pt x="328" y="3"/>
                    <a:pt x="328" y="6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28" y="48"/>
                    <a:pt x="325" y="51"/>
                    <a:pt x="322" y="51"/>
                  </a:cubicBezTo>
                  <a:close/>
                  <a:moveTo>
                    <a:pt x="12" y="39"/>
                  </a:moveTo>
                  <a:cubicBezTo>
                    <a:pt x="316" y="39"/>
                    <a:pt x="316" y="39"/>
                    <a:pt x="316" y="39"/>
                  </a:cubicBezTo>
                  <a:cubicBezTo>
                    <a:pt x="316" y="12"/>
                    <a:pt x="316" y="12"/>
                    <a:pt x="31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>
              <a:off x="3004135" y="5656296"/>
              <a:ext cx="771995" cy="34059"/>
            </a:xfrm>
            <a:custGeom>
              <a:avLst/>
              <a:gdLst>
                <a:gd name="T0" fmla="*/ 274 w 280"/>
                <a:gd name="T1" fmla="*/ 12 h 12"/>
                <a:gd name="T2" fmla="*/ 6 w 280"/>
                <a:gd name="T3" fmla="*/ 12 h 12"/>
                <a:gd name="T4" fmla="*/ 0 w 280"/>
                <a:gd name="T5" fmla="*/ 6 h 12"/>
                <a:gd name="T6" fmla="*/ 6 w 280"/>
                <a:gd name="T7" fmla="*/ 0 h 12"/>
                <a:gd name="T8" fmla="*/ 274 w 280"/>
                <a:gd name="T9" fmla="*/ 0 h 12"/>
                <a:gd name="T10" fmla="*/ 280 w 280"/>
                <a:gd name="T11" fmla="*/ 6 h 12"/>
                <a:gd name="T12" fmla="*/ 274 w 2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12">
                  <a:moveTo>
                    <a:pt x="2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8" y="0"/>
                    <a:pt x="280" y="2"/>
                    <a:pt x="280" y="6"/>
                  </a:cubicBezTo>
                  <a:cubicBezTo>
                    <a:pt x="280" y="9"/>
                    <a:pt x="278" y="12"/>
                    <a:pt x="27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2" name="Agrupar 121"/>
          <p:cNvGrpSpPr/>
          <p:nvPr/>
        </p:nvGrpSpPr>
        <p:grpSpPr>
          <a:xfrm>
            <a:off x="8544958" y="11528112"/>
            <a:ext cx="877040" cy="883228"/>
            <a:chOff x="4273592" y="5764664"/>
            <a:chExt cx="438634" cy="441729"/>
          </a:xfrm>
        </p:grpSpPr>
        <p:sp>
          <p:nvSpPr>
            <p:cNvPr id="38" name="Freeform 9"/>
            <p:cNvSpPr>
              <a:spLocks noEditPoints="1"/>
            </p:cNvSpPr>
            <p:nvPr/>
          </p:nvSpPr>
          <p:spPr bwMode="auto">
            <a:xfrm>
              <a:off x="4273592" y="5764664"/>
              <a:ext cx="438634" cy="392190"/>
            </a:xfrm>
            <a:custGeom>
              <a:avLst/>
              <a:gdLst>
                <a:gd name="T0" fmla="*/ 31 w 159"/>
                <a:gd name="T1" fmla="*/ 142 h 142"/>
                <a:gd name="T2" fmla="*/ 27 w 159"/>
                <a:gd name="T3" fmla="*/ 140 h 142"/>
                <a:gd name="T4" fmla="*/ 0 w 159"/>
                <a:gd name="T5" fmla="*/ 80 h 142"/>
                <a:gd name="T6" fmla="*/ 79 w 159"/>
                <a:gd name="T7" fmla="*/ 0 h 142"/>
                <a:gd name="T8" fmla="*/ 159 w 159"/>
                <a:gd name="T9" fmla="*/ 80 h 142"/>
                <a:gd name="T10" fmla="*/ 133 w 159"/>
                <a:gd name="T11" fmla="*/ 139 h 142"/>
                <a:gd name="T12" fmla="*/ 125 w 159"/>
                <a:gd name="T13" fmla="*/ 139 h 142"/>
                <a:gd name="T14" fmla="*/ 99 w 159"/>
                <a:gd name="T15" fmla="*/ 123 h 142"/>
                <a:gd name="T16" fmla="*/ 87 w 159"/>
                <a:gd name="T17" fmla="*/ 108 h 142"/>
                <a:gd name="T18" fmla="*/ 89 w 159"/>
                <a:gd name="T19" fmla="*/ 102 h 142"/>
                <a:gd name="T20" fmla="*/ 99 w 159"/>
                <a:gd name="T21" fmla="*/ 87 h 142"/>
                <a:gd name="T22" fmla="*/ 99 w 159"/>
                <a:gd name="T23" fmla="*/ 56 h 142"/>
                <a:gd name="T24" fmla="*/ 94 w 159"/>
                <a:gd name="T25" fmla="*/ 40 h 142"/>
                <a:gd name="T26" fmla="*/ 81 w 159"/>
                <a:gd name="T27" fmla="*/ 36 h 142"/>
                <a:gd name="T28" fmla="*/ 67 w 159"/>
                <a:gd name="T29" fmla="*/ 40 h 142"/>
                <a:gd name="T30" fmla="*/ 62 w 159"/>
                <a:gd name="T31" fmla="*/ 55 h 142"/>
                <a:gd name="T32" fmla="*/ 62 w 159"/>
                <a:gd name="T33" fmla="*/ 87 h 142"/>
                <a:gd name="T34" fmla="*/ 72 w 159"/>
                <a:gd name="T35" fmla="*/ 102 h 142"/>
                <a:gd name="T36" fmla="*/ 74 w 159"/>
                <a:gd name="T37" fmla="*/ 108 h 142"/>
                <a:gd name="T38" fmla="*/ 62 w 159"/>
                <a:gd name="T39" fmla="*/ 123 h 142"/>
                <a:gd name="T40" fmla="*/ 35 w 159"/>
                <a:gd name="T41" fmla="*/ 140 h 142"/>
                <a:gd name="T42" fmla="*/ 31 w 159"/>
                <a:gd name="T43" fmla="*/ 142 h 142"/>
                <a:gd name="T44" fmla="*/ 79 w 159"/>
                <a:gd name="T45" fmla="*/ 12 h 142"/>
                <a:gd name="T46" fmla="*/ 12 w 159"/>
                <a:gd name="T47" fmla="*/ 80 h 142"/>
                <a:gd name="T48" fmla="*/ 31 w 159"/>
                <a:gd name="T49" fmla="*/ 128 h 142"/>
                <a:gd name="T50" fmla="*/ 57 w 159"/>
                <a:gd name="T51" fmla="*/ 112 h 142"/>
                <a:gd name="T52" fmla="*/ 62 w 159"/>
                <a:gd name="T53" fmla="*/ 109 h 142"/>
                <a:gd name="T54" fmla="*/ 50 w 159"/>
                <a:gd name="T55" fmla="*/ 87 h 142"/>
                <a:gd name="T56" fmla="*/ 50 w 159"/>
                <a:gd name="T57" fmla="*/ 56 h 142"/>
                <a:gd name="T58" fmla="*/ 58 w 159"/>
                <a:gd name="T59" fmla="*/ 32 h 142"/>
                <a:gd name="T60" fmla="*/ 81 w 159"/>
                <a:gd name="T61" fmla="*/ 24 h 142"/>
                <a:gd name="T62" fmla="*/ 103 w 159"/>
                <a:gd name="T63" fmla="*/ 32 h 142"/>
                <a:gd name="T64" fmla="*/ 111 w 159"/>
                <a:gd name="T65" fmla="*/ 56 h 142"/>
                <a:gd name="T66" fmla="*/ 111 w 159"/>
                <a:gd name="T67" fmla="*/ 87 h 142"/>
                <a:gd name="T68" fmla="*/ 100 w 159"/>
                <a:gd name="T69" fmla="*/ 109 h 142"/>
                <a:gd name="T70" fmla="*/ 104 w 159"/>
                <a:gd name="T71" fmla="*/ 112 h 142"/>
                <a:gd name="T72" fmla="*/ 129 w 159"/>
                <a:gd name="T73" fmla="*/ 126 h 142"/>
                <a:gd name="T74" fmla="*/ 147 w 159"/>
                <a:gd name="T75" fmla="*/ 80 h 142"/>
                <a:gd name="T76" fmla="*/ 79 w 159"/>
                <a:gd name="T77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9" h="142">
                  <a:moveTo>
                    <a:pt x="31" y="142"/>
                  </a:moveTo>
                  <a:cubicBezTo>
                    <a:pt x="29" y="142"/>
                    <a:pt x="28" y="141"/>
                    <a:pt x="27" y="140"/>
                  </a:cubicBezTo>
                  <a:cubicBezTo>
                    <a:pt x="10" y="125"/>
                    <a:pt x="0" y="103"/>
                    <a:pt x="0" y="80"/>
                  </a:cubicBezTo>
                  <a:cubicBezTo>
                    <a:pt x="0" y="36"/>
                    <a:pt x="35" y="0"/>
                    <a:pt x="79" y="0"/>
                  </a:cubicBezTo>
                  <a:cubicBezTo>
                    <a:pt x="123" y="0"/>
                    <a:pt x="159" y="36"/>
                    <a:pt x="159" y="80"/>
                  </a:cubicBezTo>
                  <a:cubicBezTo>
                    <a:pt x="159" y="102"/>
                    <a:pt x="150" y="124"/>
                    <a:pt x="133" y="139"/>
                  </a:cubicBezTo>
                  <a:cubicBezTo>
                    <a:pt x="131" y="141"/>
                    <a:pt x="127" y="141"/>
                    <a:pt x="125" y="139"/>
                  </a:cubicBezTo>
                  <a:cubicBezTo>
                    <a:pt x="117" y="131"/>
                    <a:pt x="103" y="125"/>
                    <a:pt x="99" y="123"/>
                  </a:cubicBezTo>
                  <a:cubicBezTo>
                    <a:pt x="92" y="120"/>
                    <a:pt x="88" y="115"/>
                    <a:pt x="87" y="108"/>
                  </a:cubicBezTo>
                  <a:cubicBezTo>
                    <a:pt x="86" y="106"/>
                    <a:pt x="87" y="103"/>
                    <a:pt x="89" y="102"/>
                  </a:cubicBezTo>
                  <a:cubicBezTo>
                    <a:pt x="95" y="98"/>
                    <a:pt x="99" y="91"/>
                    <a:pt x="99" y="87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5"/>
                    <a:pt x="100" y="46"/>
                    <a:pt x="94" y="40"/>
                  </a:cubicBezTo>
                  <a:cubicBezTo>
                    <a:pt x="91" y="37"/>
                    <a:pt x="87" y="36"/>
                    <a:pt x="81" y="36"/>
                  </a:cubicBezTo>
                  <a:cubicBezTo>
                    <a:pt x="75" y="36"/>
                    <a:pt x="70" y="37"/>
                    <a:pt x="67" y="40"/>
                  </a:cubicBezTo>
                  <a:cubicBezTo>
                    <a:pt x="62" y="46"/>
                    <a:pt x="62" y="55"/>
                    <a:pt x="62" y="55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91"/>
                    <a:pt x="66" y="98"/>
                    <a:pt x="72" y="102"/>
                  </a:cubicBezTo>
                  <a:cubicBezTo>
                    <a:pt x="74" y="103"/>
                    <a:pt x="75" y="106"/>
                    <a:pt x="74" y="108"/>
                  </a:cubicBezTo>
                  <a:cubicBezTo>
                    <a:pt x="73" y="115"/>
                    <a:pt x="69" y="120"/>
                    <a:pt x="62" y="123"/>
                  </a:cubicBezTo>
                  <a:cubicBezTo>
                    <a:pt x="50" y="129"/>
                    <a:pt x="41" y="135"/>
                    <a:pt x="35" y="140"/>
                  </a:cubicBezTo>
                  <a:cubicBezTo>
                    <a:pt x="34" y="141"/>
                    <a:pt x="32" y="142"/>
                    <a:pt x="31" y="142"/>
                  </a:cubicBezTo>
                  <a:close/>
                  <a:moveTo>
                    <a:pt x="79" y="12"/>
                  </a:moveTo>
                  <a:cubicBezTo>
                    <a:pt x="42" y="12"/>
                    <a:pt x="12" y="43"/>
                    <a:pt x="12" y="80"/>
                  </a:cubicBezTo>
                  <a:cubicBezTo>
                    <a:pt x="12" y="98"/>
                    <a:pt x="19" y="115"/>
                    <a:pt x="31" y="128"/>
                  </a:cubicBezTo>
                  <a:cubicBezTo>
                    <a:pt x="37" y="122"/>
                    <a:pt x="46" y="117"/>
                    <a:pt x="57" y="112"/>
                  </a:cubicBezTo>
                  <a:cubicBezTo>
                    <a:pt x="59" y="112"/>
                    <a:pt x="61" y="110"/>
                    <a:pt x="62" y="109"/>
                  </a:cubicBezTo>
                  <a:cubicBezTo>
                    <a:pt x="55" y="103"/>
                    <a:pt x="50" y="94"/>
                    <a:pt x="50" y="8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49" y="42"/>
                    <a:pt x="58" y="32"/>
                  </a:cubicBezTo>
                  <a:cubicBezTo>
                    <a:pt x="64" y="26"/>
                    <a:pt x="71" y="24"/>
                    <a:pt x="81" y="24"/>
                  </a:cubicBezTo>
                  <a:cubicBezTo>
                    <a:pt x="90" y="24"/>
                    <a:pt x="97" y="26"/>
                    <a:pt x="103" y="32"/>
                  </a:cubicBezTo>
                  <a:cubicBezTo>
                    <a:pt x="112" y="42"/>
                    <a:pt x="111" y="55"/>
                    <a:pt x="111" y="56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94"/>
                    <a:pt x="107" y="103"/>
                    <a:pt x="100" y="109"/>
                  </a:cubicBezTo>
                  <a:cubicBezTo>
                    <a:pt x="101" y="110"/>
                    <a:pt x="102" y="112"/>
                    <a:pt x="104" y="112"/>
                  </a:cubicBezTo>
                  <a:cubicBezTo>
                    <a:pt x="108" y="114"/>
                    <a:pt x="119" y="119"/>
                    <a:pt x="129" y="126"/>
                  </a:cubicBezTo>
                  <a:cubicBezTo>
                    <a:pt x="140" y="114"/>
                    <a:pt x="147" y="97"/>
                    <a:pt x="147" y="80"/>
                  </a:cubicBezTo>
                  <a:cubicBezTo>
                    <a:pt x="147" y="43"/>
                    <a:pt x="117" y="12"/>
                    <a:pt x="7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4341709" y="5830717"/>
              <a:ext cx="303431" cy="375676"/>
            </a:xfrm>
            <a:custGeom>
              <a:avLst/>
              <a:gdLst>
                <a:gd name="T0" fmla="*/ 54 w 110"/>
                <a:gd name="T1" fmla="*/ 136 h 136"/>
                <a:gd name="T2" fmla="*/ 2 w 110"/>
                <a:gd name="T3" fmla="*/ 116 h 136"/>
                <a:gd name="T4" fmla="*/ 0 w 110"/>
                <a:gd name="T5" fmla="*/ 112 h 136"/>
                <a:gd name="T6" fmla="*/ 2 w 110"/>
                <a:gd name="T7" fmla="*/ 108 h 136"/>
                <a:gd name="T8" fmla="*/ 32 w 110"/>
                <a:gd name="T9" fmla="*/ 88 h 136"/>
                <a:gd name="T10" fmla="*/ 37 w 110"/>
                <a:gd name="T11" fmla="*/ 85 h 136"/>
                <a:gd name="T12" fmla="*/ 25 w 110"/>
                <a:gd name="T13" fmla="*/ 63 h 136"/>
                <a:gd name="T14" fmla="*/ 25 w 110"/>
                <a:gd name="T15" fmla="*/ 32 h 136"/>
                <a:gd name="T16" fmla="*/ 33 w 110"/>
                <a:gd name="T17" fmla="*/ 8 h 136"/>
                <a:gd name="T18" fmla="*/ 56 w 110"/>
                <a:gd name="T19" fmla="*/ 0 h 136"/>
                <a:gd name="T20" fmla="*/ 78 w 110"/>
                <a:gd name="T21" fmla="*/ 8 h 136"/>
                <a:gd name="T22" fmla="*/ 86 w 110"/>
                <a:gd name="T23" fmla="*/ 32 h 136"/>
                <a:gd name="T24" fmla="*/ 86 w 110"/>
                <a:gd name="T25" fmla="*/ 63 h 136"/>
                <a:gd name="T26" fmla="*/ 75 w 110"/>
                <a:gd name="T27" fmla="*/ 85 h 136"/>
                <a:gd name="T28" fmla="*/ 79 w 110"/>
                <a:gd name="T29" fmla="*/ 88 h 136"/>
                <a:gd name="T30" fmla="*/ 108 w 110"/>
                <a:gd name="T31" fmla="*/ 106 h 136"/>
                <a:gd name="T32" fmla="*/ 110 w 110"/>
                <a:gd name="T33" fmla="*/ 111 h 136"/>
                <a:gd name="T34" fmla="*/ 108 w 110"/>
                <a:gd name="T35" fmla="*/ 115 h 136"/>
                <a:gd name="T36" fmla="*/ 54 w 110"/>
                <a:gd name="T37" fmla="*/ 136 h 136"/>
                <a:gd name="T38" fmla="*/ 15 w 110"/>
                <a:gd name="T39" fmla="*/ 112 h 136"/>
                <a:gd name="T40" fmla="*/ 54 w 110"/>
                <a:gd name="T41" fmla="*/ 124 h 136"/>
                <a:gd name="T42" fmla="*/ 95 w 110"/>
                <a:gd name="T43" fmla="*/ 111 h 136"/>
                <a:gd name="T44" fmla="*/ 74 w 110"/>
                <a:gd name="T45" fmla="*/ 99 h 136"/>
                <a:gd name="T46" fmla="*/ 62 w 110"/>
                <a:gd name="T47" fmla="*/ 84 h 136"/>
                <a:gd name="T48" fmla="*/ 64 w 110"/>
                <a:gd name="T49" fmla="*/ 78 h 136"/>
                <a:gd name="T50" fmla="*/ 74 w 110"/>
                <a:gd name="T51" fmla="*/ 63 h 136"/>
                <a:gd name="T52" fmla="*/ 74 w 110"/>
                <a:gd name="T53" fmla="*/ 32 h 136"/>
                <a:gd name="T54" fmla="*/ 69 w 110"/>
                <a:gd name="T55" fmla="*/ 16 h 136"/>
                <a:gd name="T56" fmla="*/ 56 w 110"/>
                <a:gd name="T57" fmla="*/ 12 h 136"/>
                <a:gd name="T58" fmla="*/ 42 w 110"/>
                <a:gd name="T59" fmla="*/ 16 h 136"/>
                <a:gd name="T60" fmla="*/ 37 w 110"/>
                <a:gd name="T61" fmla="*/ 31 h 136"/>
                <a:gd name="T62" fmla="*/ 37 w 110"/>
                <a:gd name="T63" fmla="*/ 63 h 136"/>
                <a:gd name="T64" fmla="*/ 47 w 110"/>
                <a:gd name="T65" fmla="*/ 78 h 136"/>
                <a:gd name="T66" fmla="*/ 49 w 110"/>
                <a:gd name="T67" fmla="*/ 84 h 136"/>
                <a:gd name="T68" fmla="*/ 37 w 110"/>
                <a:gd name="T69" fmla="*/ 99 h 136"/>
                <a:gd name="T70" fmla="*/ 15 w 110"/>
                <a:gd name="T7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54" y="136"/>
                  </a:moveTo>
                  <a:cubicBezTo>
                    <a:pt x="35" y="136"/>
                    <a:pt x="16" y="129"/>
                    <a:pt x="2" y="116"/>
                  </a:cubicBezTo>
                  <a:cubicBezTo>
                    <a:pt x="1" y="115"/>
                    <a:pt x="0" y="114"/>
                    <a:pt x="0" y="112"/>
                  </a:cubicBezTo>
                  <a:cubicBezTo>
                    <a:pt x="0" y="110"/>
                    <a:pt x="0" y="109"/>
                    <a:pt x="2" y="108"/>
                  </a:cubicBezTo>
                  <a:cubicBezTo>
                    <a:pt x="8" y="101"/>
                    <a:pt x="18" y="95"/>
                    <a:pt x="32" y="88"/>
                  </a:cubicBezTo>
                  <a:cubicBezTo>
                    <a:pt x="34" y="88"/>
                    <a:pt x="36" y="86"/>
                    <a:pt x="37" y="85"/>
                  </a:cubicBezTo>
                  <a:cubicBezTo>
                    <a:pt x="30" y="79"/>
                    <a:pt x="25" y="70"/>
                    <a:pt x="25" y="63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4" y="18"/>
                    <a:pt x="33" y="8"/>
                  </a:cubicBezTo>
                  <a:cubicBezTo>
                    <a:pt x="39" y="2"/>
                    <a:pt x="46" y="0"/>
                    <a:pt x="56" y="0"/>
                  </a:cubicBezTo>
                  <a:cubicBezTo>
                    <a:pt x="65" y="0"/>
                    <a:pt x="72" y="2"/>
                    <a:pt x="78" y="8"/>
                  </a:cubicBezTo>
                  <a:cubicBezTo>
                    <a:pt x="87" y="18"/>
                    <a:pt x="86" y="31"/>
                    <a:pt x="86" y="3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70"/>
                    <a:pt x="82" y="79"/>
                    <a:pt x="75" y="85"/>
                  </a:cubicBezTo>
                  <a:cubicBezTo>
                    <a:pt x="76" y="86"/>
                    <a:pt x="77" y="88"/>
                    <a:pt x="79" y="88"/>
                  </a:cubicBezTo>
                  <a:cubicBezTo>
                    <a:pt x="84" y="91"/>
                    <a:pt x="98" y="97"/>
                    <a:pt x="108" y="106"/>
                  </a:cubicBezTo>
                  <a:cubicBezTo>
                    <a:pt x="109" y="107"/>
                    <a:pt x="110" y="109"/>
                    <a:pt x="110" y="111"/>
                  </a:cubicBezTo>
                  <a:cubicBezTo>
                    <a:pt x="110" y="112"/>
                    <a:pt x="109" y="114"/>
                    <a:pt x="108" y="115"/>
                  </a:cubicBezTo>
                  <a:cubicBezTo>
                    <a:pt x="93" y="128"/>
                    <a:pt x="74" y="136"/>
                    <a:pt x="54" y="136"/>
                  </a:cubicBezTo>
                  <a:close/>
                  <a:moveTo>
                    <a:pt x="15" y="112"/>
                  </a:moveTo>
                  <a:cubicBezTo>
                    <a:pt x="27" y="120"/>
                    <a:pt x="40" y="124"/>
                    <a:pt x="54" y="124"/>
                  </a:cubicBezTo>
                  <a:cubicBezTo>
                    <a:pt x="69" y="124"/>
                    <a:pt x="83" y="119"/>
                    <a:pt x="95" y="111"/>
                  </a:cubicBezTo>
                  <a:cubicBezTo>
                    <a:pt x="87" y="105"/>
                    <a:pt x="77" y="101"/>
                    <a:pt x="74" y="99"/>
                  </a:cubicBezTo>
                  <a:cubicBezTo>
                    <a:pt x="67" y="96"/>
                    <a:pt x="63" y="91"/>
                    <a:pt x="62" y="84"/>
                  </a:cubicBezTo>
                  <a:cubicBezTo>
                    <a:pt x="61" y="82"/>
                    <a:pt x="62" y="79"/>
                    <a:pt x="64" y="78"/>
                  </a:cubicBezTo>
                  <a:cubicBezTo>
                    <a:pt x="70" y="74"/>
                    <a:pt x="74" y="67"/>
                    <a:pt x="74" y="63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5" y="22"/>
                    <a:pt x="69" y="16"/>
                  </a:cubicBezTo>
                  <a:cubicBezTo>
                    <a:pt x="66" y="13"/>
                    <a:pt x="62" y="12"/>
                    <a:pt x="56" y="12"/>
                  </a:cubicBezTo>
                  <a:cubicBezTo>
                    <a:pt x="50" y="12"/>
                    <a:pt x="45" y="13"/>
                    <a:pt x="42" y="16"/>
                  </a:cubicBezTo>
                  <a:cubicBezTo>
                    <a:pt x="37" y="22"/>
                    <a:pt x="37" y="31"/>
                    <a:pt x="37" y="31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7"/>
                    <a:pt x="41" y="74"/>
                    <a:pt x="47" y="78"/>
                  </a:cubicBezTo>
                  <a:cubicBezTo>
                    <a:pt x="49" y="79"/>
                    <a:pt x="50" y="82"/>
                    <a:pt x="49" y="84"/>
                  </a:cubicBezTo>
                  <a:cubicBezTo>
                    <a:pt x="48" y="91"/>
                    <a:pt x="44" y="96"/>
                    <a:pt x="37" y="99"/>
                  </a:cubicBezTo>
                  <a:cubicBezTo>
                    <a:pt x="28" y="103"/>
                    <a:pt x="21" y="108"/>
                    <a:pt x="15" y="1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19" name="Agrupar 118"/>
          <p:cNvGrpSpPr/>
          <p:nvPr/>
        </p:nvGrpSpPr>
        <p:grpSpPr>
          <a:xfrm>
            <a:off x="4477564" y="8628728"/>
            <a:ext cx="945138" cy="1403260"/>
            <a:chOff x="2239365" y="4314594"/>
            <a:chExt cx="472692" cy="701813"/>
          </a:xfrm>
        </p:grpSpPr>
        <p:sp>
          <p:nvSpPr>
            <p:cNvPr id="40" name="Freeform 11"/>
            <p:cNvSpPr>
              <a:spLocks noEditPoints="1"/>
            </p:cNvSpPr>
            <p:nvPr/>
          </p:nvSpPr>
          <p:spPr bwMode="auto">
            <a:xfrm>
              <a:off x="2526283" y="4314594"/>
              <a:ext cx="185774" cy="187838"/>
            </a:xfrm>
            <a:custGeom>
              <a:avLst/>
              <a:gdLst>
                <a:gd name="T0" fmla="*/ 61 w 67"/>
                <a:gd name="T1" fmla="*/ 68 h 68"/>
                <a:gd name="T2" fmla="*/ 6 w 67"/>
                <a:gd name="T3" fmla="*/ 68 h 68"/>
                <a:gd name="T4" fmla="*/ 0 w 67"/>
                <a:gd name="T5" fmla="*/ 62 h 68"/>
                <a:gd name="T6" fmla="*/ 0 w 67"/>
                <a:gd name="T7" fmla="*/ 6 h 68"/>
                <a:gd name="T8" fmla="*/ 3 w 67"/>
                <a:gd name="T9" fmla="*/ 1 h 68"/>
                <a:gd name="T10" fmla="*/ 10 w 67"/>
                <a:gd name="T11" fmla="*/ 2 h 68"/>
                <a:gd name="T12" fmla="*/ 65 w 67"/>
                <a:gd name="T13" fmla="*/ 57 h 68"/>
                <a:gd name="T14" fmla="*/ 67 w 67"/>
                <a:gd name="T15" fmla="*/ 64 h 68"/>
                <a:gd name="T16" fmla="*/ 61 w 67"/>
                <a:gd name="T17" fmla="*/ 68 h 68"/>
                <a:gd name="T18" fmla="*/ 12 w 67"/>
                <a:gd name="T19" fmla="*/ 56 h 68"/>
                <a:gd name="T20" fmla="*/ 47 w 67"/>
                <a:gd name="T21" fmla="*/ 56 h 68"/>
                <a:gd name="T22" fmla="*/ 12 w 67"/>
                <a:gd name="T23" fmla="*/ 21 h 68"/>
                <a:gd name="T24" fmla="*/ 12 w 67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8">
                  <a:moveTo>
                    <a:pt x="61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2" y="68"/>
                    <a:pt x="0" y="65"/>
                    <a:pt x="0" y="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6" y="66"/>
                    <a:pt x="63" y="68"/>
                    <a:pt x="61" y="68"/>
                  </a:cubicBezTo>
                  <a:close/>
                  <a:moveTo>
                    <a:pt x="12" y="56"/>
                  </a:moveTo>
                  <a:cubicBezTo>
                    <a:pt x="47" y="56"/>
                    <a:pt x="47" y="56"/>
                    <a:pt x="47" y="56"/>
                  </a:cubicBezTo>
                  <a:cubicBezTo>
                    <a:pt x="12" y="21"/>
                    <a:pt x="12" y="21"/>
                    <a:pt x="12" y="21"/>
                  </a:cubicBezTo>
                  <a:lnTo>
                    <a:pt x="12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239365" y="4314594"/>
              <a:ext cx="472692" cy="582092"/>
            </a:xfrm>
            <a:custGeom>
              <a:avLst/>
              <a:gdLst>
                <a:gd name="T0" fmla="*/ 165 w 171"/>
                <a:gd name="T1" fmla="*/ 211 h 211"/>
                <a:gd name="T2" fmla="*/ 136 w 171"/>
                <a:gd name="T3" fmla="*/ 211 h 211"/>
                <a:gd name="T4" fmla="*/ 130 w 171"/>
                <a:gd name="T5" fmla="*/ 205 h 211"/>
                <a:gd name="T6" fmla="*/ 136 w 171"/>
                <a:gd name="T7" fmla="*/ 199 h 211"/>
                <a:gd name="T8" fmla="*/ 159 w 171"/>
                <a:gd name="T9" fmla="*/ 199 h 211"/>
                <a:gd name="T10" fmla="*/ 159 w 171"/>
                <a:gd name="T11" fmla="*/ 64 h 211"/>
                <a:gd name="T12" fmla="*/ 107 w 171"/>
                <a:gd name="T13" fmla="*/ 12 h 211"/>
                <a:gd name="T14" fmla="*/ 12 w 171"/>
                <a:gd name="T15" fmla="*/ 12 h 211"/>
                <a:gd name="T16" fmla="*/ 12 w 171"/>
                <a:gd name="T17" fmla="*/ 199 h 211"/>
                <a:gd name="T18" fmla="*/ 29 w 171"/>
                <a:gd name="T19" fmla="*/ 199 h 211"/>
                <a:gd name="T20" fmla="*/ 35 w 171"/>
                <a:gd name="T21" fmla="*/ 205 h 211"/>
                <a:gd name="T22" fmla="*/ 29 w 171"/>
                <a:gd name="T23" fmla="*/ 211 h 211"/>
                <a:gd name="T24" fmla="*/ 6 w 171"/>
                <a:gd name="T25" fmla="*/ 211 h 211"/>
                <a:gd name="T26" fmla="*/ 0 w 171"/>
                <a:gd name="T27" fmla="*/ 205 h 211"/>
                <a:gd name="T28" fmla="*/ 0 w 171"/>
                <a:gd name="T29" fmla="*/ 6 h 211"/>
                <a:gd name="T30" fmla="*/ 6 w 171"/>
                <a:gd name="T31" fmla="*/ 0 h 211"/>
                <a:gd name="T32" fmla="*/ 110 w 171"/>
                <a:gd name="T33" fmla="*/ 0 h 211"/>
                <a:gd name="T34" fmla="*/ 114 w 171"/>
                <a:gd name="T35" fmla="*/ 2 h 211"/>
                <a:gd name="T36" fmla="*/ 169 w 171"/>
                <a:gd name="T37" fmla="*/ 57 h 211"/>
                <a:gd name="T38" fmla="*/ 171 w 171"/>
                <a:gd name="T39" fmla="*/ 62 h 211"/>
                <a:gd name="T40" fmla="*/ 171 w 171"/>
                <a:gd name="T41" fmla="*/ 205 h 211"/>
                <a:gd name="T42" fmla="*/ 165 w 171"/>
                <a:gd name="T4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1" h="211">
                  <a:moveTo>
                    <a:pt x="165" y="211"/>
                  </a:moveTo>
                  <a:cubicBezTo>
                    <a:pt x="136" y="211"/>
                    <a:pt x="136" y="211"/>
                    <a:pt x="136" y="211"/>
                  </a:cubicBezTo>
                  <a:cubicBezTo>
                    <a:pt x="132" y="211"/>
                    <a:pt x="130" y="209"/>
                    <a:pt x="130" y="205"/>
                  </a:cubicBezTo>
                  <a:cubicBezTo>
                    <a:pt x="130" y="202"/>
                    <a:pt x="132" y="199"/>
                    <a:pt x="136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9"/>
                    <a:pt x="12" y="199"/>
                    <a:pt x="12" y="19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32" y="199"/>
                    <a:pt x="35" y="202"/>
                    <a:pt x="35" y="205"/>
                  </a:cubicBezTo>
                  <a:cubicBezTo>
                    <a:pt x="35" y="209"/>
                    <a:pt x="32" y="211"/>
                    <a:pt x="29" y="211"/>
                  </a:cubicBezTo>
                  <a:cubicBezTo>
                    <a:pt x="6" y="211"/>
                    <a:pt x="6" y="211"/>
                    <a:pt x="6" y="211"/>
                  </a:cubicBezTo>
                  <a:cubicBezTo>
                    <a:pt x="3" y="211"/>
                    <a:pt x="0" y="209"/>
                    <a:pt x="0" y="20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3" y="1"/>
                    <a:pt x="114" y="2"/>
                  </a:cubicBezTo>
                  <a:cubicBezTo>
                    <a:pt x="169" y="57"/>
                    <a:pt x="169" y="57"/>
                    <a:pt x="169" y="57"/>
                  </a:cubicBezTo>
                  <a:cubicBezTo>
                    <a:pt x="170" y="59"/>
                    <a:pt x="171" y="60"/>
                    <a:pt x="171" y="62"/>
                  </a:cubicBezTo>
                  <a:cubicBezTo>
                    <a:pt x="171" y="205"/>
                    <a:pt x="171" y="205"/>
                    <a:pt x="171" y="205"/>
                  </a:cubicBezTo>
                  <a:cubicBezTo>
                    <a:pt x="171" y="209"/>
                    <a:pt x="168" y="211"/>
                    <a:pt x="165" y="2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2385920" y="4911135"/>
              <a:ext cx="182678" cy="105272"/>
            </a:xfrm>
            <a:custGeom>
              <a:avLst/>
              <a:gdLst>
                <a:gd name="T0" fmla="*/ 33 w 66"/>
                <a:gd name="T1" fmla="*/ 38 h 38"/>
                <a:gd name="T2" fmla="*/ 29 w 66"/>
                <a:gd name="T3" fmla="*/ 37 h 38"/>
                <a:gd name="T4" fmla="*/ 2 w 66"/>
                <a:gd name="T5" fmla="*/ 11 h 38"/>
                <a:gd name="T6" fmla="*/ 2 w 66"/>
                <a:gd name="T7" fmla="*/ 2 h 38"/>
                <a:gd name="T8" fmla="*/ 10 w 66"/>
                <a:gd name="T9" fmla="*/ 2 h 38"/>
                <a:gd name="T10" fmla="*/ 33 w 66"/>
                <a:gd name="T11" fmla="*/ 24 h 38"/>
                <a:gd name="T12" fmla="*/ 55 w 66"/>
                <a:gd name="T13" fmla="*/ 2 h 38"/>
                <a:gd name="T14" fmla="*/ 63 w 66"/>
                <a:gd name="T15" fmla="*/ 2 h 38"/>
                <a:gd name="T16" fmla="*/ 63 w 66"/>
                <a:gd name="T17" fmla="*/ 11 h 38"/>
                <a:gd name="T18" fmla="*/ 37 w 66"/>
                <a:gd name="T19" fmla="*/ 37 h 38"/>
                <a:gd name="T20" fmla="*/ 33 w 6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38">
                  <a:moveTo>
                    <a:pt x="33" y="38"/>
                  </a:moveTo>
                  <a:cubicBezTo>
                    <a:pt x="32" y="38"/>
                    <a:pt x="30" y="38"/>
                    <a:pt x="29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7" y="0"/>
                    <a:pt x="61" y="0"/>
                    <a:pt x="63" y="2"/>
                  </a:cubicBezTo>
                  <a:cubicBezTo>
                    <a:pt x="66" y="4"/>
                    <a:pt x="66" y="8"/>
                    <a:pt x="63" y="11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8"/>
                    <a:pt x="35" y="38"/>
                    <a:pt x="33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2460230" y="4609768"/>
              <a:ext cx="33027" cy="406639"/>
            </a:xfrm>
            <a:custGeom>
              <a:avLst/>
              <a:gdLst>
                <a:gd name="T0" fmla="*/ 6 w 12"/>
                <a:gd name="T1" fmla="*/ 147 h 147"/>
                <a:gd name="T2" fmla="*/ 0 w 12"/>
                <a:gd name="T3" fmla="*/ 141 h 147"/>
                <a:gd name="T4" fmla="*/ 0 w 12"/>
                <a:gd name="T5" fmla="*/ 6 h 147"/>
                <a:gd name="T6" fmla="*/ 6 w 12"/>
                <a:gd name="T7" fmla="*/ 0 h 147"/>
                <a:gd name="T8" fmla="*/ 12 w 12"/>
                <a:gd name="T9" fmla="*/ 6 h 147"/>
                <a:gd name="T10" fmla="*/ 12 w 12"/>
                <a:gd name="T11" fmla="*/ 141 h 147"/>
                <a:gd name="T12" fmla="*/ 6 w 12"/>
                <a:gd name="T1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7">
                  <a:moveTo>
                    <a:pt x="6" y="147"/>
                  </a:moveTo>
                  <a:cubicBezTo>
                    <a:pt x="3" y="147"/>
                    <a:pt x="0" y="145"/>
                    <a:pt x="0" y="1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5"/>
                    <a:pt x="9" y="147"/>
                    <a:pt x="6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auto">
            <a:xfrm>
              <a:off x="2410690" y="4609768"/>
              <a:ext cx="140363" cy="33027"/>
            </a:xfrm>
            <a:custGeom>
              <a:avLst/>
              <a:gdLst>
                <a:gd name="T0" fmla="*/ 45 w 51"/>
                <a:gd name="T1" fmla="*/ 12 h 12"/>
                <a:gd name="T2" fmla="*/ 6 w 51"/>
                <a:gd name="T3" fmla="*/ 12 h 12"/>
                <a:gd name="T4" fmla="*/ 0 w 51"/>
                <a:gd name="T5" fmla="*/ 6 h 12"/>
                <a:gd name="T6" fmla="*/ 6 w 51"/>
                <a:gd name="T7" fmla="*/ 0 h 12"/>
                <a:gd name="T8" fmla="*/ 45 w 51"/>
                <a:gd name="T9" fmla="*/ 0 h 12"/>
                <a:gd name="T10" fmla="*/ 51 w 51"/>
                <a:gd name="T11" fmla="*/ 6 h 12"/>
                <a:gd name="T12" fmla="*/ 45 w 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12">
                  <a:moveTo>
                    <a:pt x="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1" y="3"/>
                    <a:pt x="51" y="6"/>
                  </a:cubicBezTo>
                  <a:cubicBezTo>
                    <a:pt x="51" y="10"/>
                    <a:pt x="48" y="12"/>
                    <a:pt x="45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5" name="Freeform 16"/>
          <p:cNvSpPr>
            <a:spLocks noEditPoints="1"/>
          </p:cNvSpPr>
          <p:nvPr/>
        </p:nvSpPr>
        <p:spPr bwMode="auto">
          <a:xfrm>
            <a:off x="4974896" y="10622185"/>
            <a:ext cx="379705" cy="385897"/>
          </a:xfrm>
          <a:custGeom>
            <a:avLst/>
            <a:gdLst>
              <a:gd name="T0" fmla="*/ 35 w 69"/>
              <a:gd name="T1" fmla="*/ 70 h 70"/>
              <a:gd name="T2" fmla="*/ 0 w 69"/>
              <a:gd name="T3" fmla="*/ 35 h 70"/>
              <a:gd name="T4" fmla="*/ 35 w 69"/>
              <a:gd name="T5" fmla="*/ 0 h 70"/>
              <a:gd name="T6" fmla="*/ 69 w 69"/>
              <a:gd name="T7" fmla="*/ 35 h 70"/>
              <a:gd name="T8" fmla="*/ 35 w 69"/>
              <a:gd name="T9" fmla="*/ 70 h 70"/>
              <a:gd name="T10" fmla="*/ 35 w 69"/>
              <a:gd name="T11" fmla="*/ 12 h 70"/>
              <a:gd name="T12" fmla="*/ 12 w 69"/>
              <a:gd name="T13" fmla="*/ 35 h 70"/>
              <a:gd name="T14" fmla="*/ 35 w 69"/>
              <a:gd name="T15" fmla="*/ 58 h 70"/>
              <a:gd name="T16" fmla="*/ 57 w 69"/>
              <a:gd name="T17" fmla="*/ 35 h 70"/>
              <a:gd name="T18" fmla="*/ 35 w 69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70">
                <a:moveTo>
                  <a:pt x="35" y="70"/>
                </a:moveTo>
                <a:cubicBezTo>
                  <a:pt x="15" y="70"/>
                  <a:pt x="0" y="54"/>
                  <a:pt x="0" y="35"/>
                </a:cubicBezTo>
                <a:cubicBezTo>
                  <a:pt x="0" y="16"/>
                  <a:pt x="15" y="0"/>
                  <a:pt x="35" y="0"/>
                </a:cubicBezTo>
                <a:cubicBezTo>
                  <a:pt x="54" y="0"/>
                  <a:pt x="69" y="16"/>
                  <a:pt x="69" y="35"/>
                </a:cubicBezTo>
                <a:cubicBezTo>
                  <a:pt x="69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7" y="58"/>
                  <a:pt x="57" y="48"/>
                  <a:pt x="57" y="35"/>
                </a:cubicBezTo>
                <a:cubicBezTo>
                  <a:pt x="57" y="22"/>
                  <a:pt x="47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reeform 17"/>
          <p:cNvSpPr>
            <a:spLocks noEditPoints="1"/>
          </p:cNvSpPr>
          <p:nvPr/>
        </p:nvSpPr>
        <p:spPr bwMode="auto">
          <a:xfrm>
            <a:off x="6435941" y="11814956"/>
            <a:ext cx="387961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5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5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3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8" y="58"/>
                  <a:pt x="58" y="48"/>
                  <a:pt x="58" y="35"/>
                </a:cubicBezTo>
                <a:cubicBezTo>
                  <a:pt x="58" y="23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auto">
          <a:xfrm>
            <a:off x="6237832" y="9020816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reeform 20"/>
          <p:cNvSpPr>
            <a:spLocks noEditPoints="1"/>
          </p:cNvSpPr>
          <p:nvPr/>
        </p:nvSpPr>
        <p:spPr bwMode="auto">
          <a:xfrm>
            <a:off x="8185889" y="10362168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18" name="Agrupar 117"/>
          <p:cNvGrpSpPr/>
          <p:nvPr/>
        </p:nvGrpSpPr>
        <p:grpSpPr>
          <a:xfrm>
            <a:off x="3811016" y="9060024"/>
            <a:ext cx="392088" cy="385897"/>
            <a:chOff x="1906004" y="4530298"/>
            <a:chExt cx="196095" cy="192999"/>
          </a:xfrm>
        </p:grpSpPr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1909100" y="4532362"/>
              <a:ext cx="71214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 22"/>
            <p:cNvSpPr>
              <a:spLocks/>
            </p:cNvSpPr>
            <p:nvPr/>
          </p:nvSpPr>
          <p:spPr bwMode="auto">
            <a:xfrm>
              <a:off x="2032949" y="4654147"/>
              <a:ext cx="69150" cy="69150"/>
            </a:xfrm>
            <a:custGeom>
              <a:avLst/>
              <a:gdLst>
                <a:gd name="T0" fmla="*/ 19 w 25"/>
                <a:gd name="T1" fmla="*/ 25 h 25"/>
                <a:gd name="T2" fmla="*/ 15 w 25"/>
                <a:gd name="T3" fmla="*/ 24 h 25"/>
                <a:gd name="T4" fmla="*/ 2 w 25"/>
                <a:gd name="T5" fmla="*/ 11 h 25"/>
                <a:gd name="T6" fmla="*/ 2 w 25"/>
                <a:gd name="T7" fmla="*/ 2 h 25"/>
                <a:gd name="T8" fmla="*/ 10 w 25"/>
                <a:gd name="T9" fmla="*/ 2 h 25"/>
                <a:gd name="T10" fmla="*/ 23 w 25"/>
                <a:gd name="T11" fmla="*/ 15 h 25"/>
                <a:gd name="T12" fmla="*/ 23 w 25"/>
                <a:gd name="T13" fmla="*/ 24 h 25"/>
                <a:gd name="T14" fmla="*/ 19 w 25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19" y="25"/>
                  </a:moveTo>
                  <a:cubicBezTo>
                    <a:pt x="17" y="25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8"/>
                    <a:pt x="25" y="21"/>
                    <a:pt x="23" y="24"/>
                  </a:cubicBezTo>
                  <a:cubicBezTo>
                    <a:pt x="22" y="25"/>
                    <a:pt x="20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23"/>
            <p:cNvSpPr>
              <a:spLocks/>
            </p:cNvSpPr>
            <p:nvPr/>
          </p:nvSpPr>
          <p:spPr bwMode="auto">
            <a:xfrm>
              <a:off x="1906004" y="4651051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5"/>
                    <a:pt x="26" y="8"/>
                    <a:pt x="24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2027789" y="4530298"/>
              <a:ext cx="71214" cy="68117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7903171" y="11567320"/>
            <a:ext cx="392090" cy="392088"/>
            <a:chOff x="3952615" y="5784273"/>
            <a:chExt cx="196096" cy="196095"/>
          </a:xfrm>
        </p:grpSpPr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3955712" y="5786338"/>
              <a:ext cx="72245" cy="72245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1 w 26"/>
                <a:gd name="T9" fmla="*/ 3 h 26"/>
                <a:gd name="T10" fmla="*/ 24 w 26"/>
                <a:gd name="T11" fmla="*/ 15 h 26"/>
                <a:gd name="T12" fmla="*/ 24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8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auto">
            <a:xfrm>
              <a:off x="4077497" y="5908123"/>
              <a:ext cx="71214" cy="72245"/>
            </a:xfrm>
            <a:custGeom>
              <a:avLst/>
              <a:gdLst>
                <a:gd name="T0" fmla="*/ 20 w 26"/>
                <a:gd name="T1" fmla="*/ 26 h 26"/>
                <a:gd name="T2" fmla="*/ 15 w 26"/>
                <a:gd name="T3" fmla="*/ 24 h 26"/>
                <a:gd name="T4" fmla="*/ 3 w 26"/>
                <a:gd name="T5" fmla="*/ 11 h 26"/>
                <a:gd name="T6" fmla="*/ 3 w 26"/>
                <a:gd name="T7" fmla="*/ 3 h 26"/>
                <a:gd name="T8" fmla="*/ 11 w 26"/>
                <a:gd name="T9" fmla="*/ 3 h 26"/>
                <a:gd name="T10" fmla="*/ 24 w 26"/>
                <a:gd name="T11" fmla="*/ 16 h 26"/>
                <a:gd name="T12" fmla="*/ 24 w 26"/>
                <a:gd name="T13" fmla="*/ 24 h 26"/>
                <a:gd name="T14" fmla="*/ 20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20" y="26"/>
                  </a:moveTo>
                  <a:cubicBezTo>
                    <a:pt x="18" y="26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2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27"/>
            <p:cNvSpPr>
              <a:spLocks/>
            </p:cNvSpPr>
            <p:nvPr/>
          </p:nvSpPr>
          <p:spPr bwMode="auto">
            <a:xfrm>
              <a:off x="3952615" y="5905026"/>
              <a:ext cx="72245" cy="72245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5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1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auto">
            <a:xfrm>
              <a:off x="4074400" y="5784273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4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4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4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4" y="2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17" name="Agrupar 116"/>
          <p:cNvGrpSpPr/>
          <p:nvPr/>
        </p:nvGrpSpPr>
        <p:grpSpPr>
          <a:xfrm>
            <a:off x="4555981" y="11307492"/>
            <a:ext cx="392086" cy="387961"/>
            <a:chOff x="2278584" y="5725445"/>
            <a:chExt cx="196094" cy="194031"/>
          </a:xfrm>
        </p:grpSpPr>
        <p:sp>
          <p:nvSpPr>
            <p:cNvPr id="58" name="Freeform 29"/>
            <p:cNvSpPr>
              <a:spLocks/>
            </p:cNvSpPr>
            <p:nvPr/>
          </p:nvSpPr>
          <p:spPr bwMode="auto">
            <a:xfrm>
              <a:off x="2280648" y="5728541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 30"/>
            <p:cNvSpPr>
              <a:spLocks/>
            </p:cNvSpPr>
            <p:nvPr/>
          </p:nvSpPr>
          <p:spPr bwMode="auto">
            <a:xfrm>
              <a:off x="2402433" y="5850326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4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4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4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278584" y="5847230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3 w 26"/>
                <a:gd name="T9" fmla="*/ 2 h 25"/>
                <a:gd name="T10" fmla="*/ 23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3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3" y="2"/>
                  </a:cubicBezTo>
                  <a:cubicBezTo>
                    <a:pt x="26" y="4"/>
                    <a:pt x="26" y="8"/>
                    <a:pt x="23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2399337" y="5725445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1" name="Agrupar 120"/>
          <p:cNvGrpSpPr/>
          <p:nvPr/>
        </p:nvGrpSpPr>
        <p:grpSpPr>
          <a:xfrm>
            <a:off x="9056736" y="10589164"/>
            <a:ext cx="398278" cy="392090"/>
            <a:chOff x="4529547" y="5295068"/>
            <a:chExt cx="199191" cy="196096"/>
          </a:xfrm>
        </p:grpSpPr>
        <p:sp>
          <p:nvSpPr>
            <p:cNvPr id="62" name="Freeform 33"/>
            <p:cNvSpPr>
              <a:spLocks/>
            </p:cNvSpPr>
            <p:nvPr/>
          </p:nvSpPr>
          <p:spPr bwMode="auto">
            <a:xfrm>
              <a:off x="4535740" y="5298164"/>
              <a:ext cx="71214" cy="71214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0 w 26"/>
                <a:gd name="T9" fmla="*/ 3 h 26"/>
                <a:gd name="T10" fmla="*/ 23 w 26"/>
                <a:gd name="T11" fmla="*/ 16 h 26"/>
                <a:gd name="T12" fmla="*/ 23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7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8"/>
                    <a:pt x="26" y="22"/>
                    <a:pt x="23" y="24"/>
                  </a:cubicBezTo>
                  <a:cubicBezTo>
                    <a:pt x="22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34"/>
            <p:cNvSpPr>
              <a:spLocks/>
            </p:cNvSpPr>
            <p:nvPr/>
          </p:nvSpPr>
          <p:spPr bwMode="auto">
            <a:xfrm>
              <a:off x="4656493" y="5422014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0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529547" y="5416854"/>
              <a:ext cx="72245" cy="71214"/>
            </a:xfrm>
            <a:custGeom>
              <a:avLst/>
              <a:gdLst>
                <a:gd name="T0" fmla="*/ 7 w 26"/>
                <a:gd name="T1" fmla="*/ 26 h 26"/>
                <a:gd name="T2" fmla="*/ 3 w 26"/>
                <a:gd name="T3" fmla="*/ 24 h 26"/>
                <a:gd name="T4" fmla="*/ 3 w 26"/>
                <a:gd name="T5" fmla="*/ 15 h 26"/>
                <a:gd name="T6" fmla="*/ 15 w 26"/>
                <a:gd name="T7" fmla="*/ 3 h 26"/>
                <a:gd name="T8" fmla="*/ 24 w 26"/>
                <a:gd name="T9" fmla="*/ 3 h 26"/>
                <a:gd name="T10" fmla="*/ 24 w 26"/>
                <a:gd name="T11" fmla="*/ 11 h 26"/>
                <a:gd name="T12" fmla="*/ 11 w 26"/>
                <a:gd name="T13" fmla="*/ 24 h 26"/>
                <a:gd name="T14" fmla="*/ 7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7" y="26"/>
                  </a:moveTo>
                  <a:cubicBezTo>
                    <a:pt x="5" y="26"/>
                    <a:pt x="4" y="25"/>
                    <a:pt x="3" y="24"/>
                  </a:cubicBezTo>
                  <a:cubicBezTo>
                    <a:pt x="0" y="22"/>
                    <a:pt x="0" y="18"/>
                    <a:pt x="3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8" y="0"/>
                    <a:pt x="22" y="0"/>
                    <a:pt x="24" y="3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9" y="26"/>
                    <a:pt x="7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654428" y="5295068"/>
              <a:ext cx="68117" cy="71214"/>
            </a:xfrm>
            <a:custGeom>
              <a:avLst/>
              <a:gdLst>
                <a:gd name="T0" fmla="*/ 6 w 25"/>
                <a:gd name="T1" fmla="*/ 26 h 26"/>
                <a:gd name="T2" fmla="*/ 2 w 25"/>
                <a:gd name="T3" fmla="*/ 24 h 26"/>
                <a:gd name="T4" fmla="*/ 2 w 25"/>
                <a:gd name="T5" fmla="*/ 15 h 26"/>
                <a:gd name="T6" fmla="*/ 15 w 25"/>
                <a:gd name="T7" fmla="*/ 3 h 26"/>
                <a:gd name="T8" fmla="*/ 23 w 25"/>
                <a:gd name="T9" fmla="*/ 3 h 26"/>
                <a:gd name="T10" fmla="*/ 23 w 25"/>
                <a:gd name="T11" fmla="*/ 11 h 26"/>
                <a:gd name="T12" fmla="*/ 10 w 25"/>
                <a:gd name="T13" fmla="*/ 24 h 26"/>
                <a:gd name="T14" fmla="*/ 6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5" y="5"/>
                    <a:pt x="25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0" name="Agrupar 119"/>
          <p:cNvGrpSpPr/>
          <p:nvPr/>
        </p:nvGrpSpPr>
        <p:grpSpPr>
          <a:xfrm>
            <a:off x="6834216" y="9501637"/>
            <a:ext cx="396217" cy="392090"/>
            <a:chOff x="3417998" y="4751163"/>
            <a:chExt cx="198160" cy="196096"/>
          </a:xfrm>
        </p:grpSpPr>
        <p:sp>
          <p:nvSpPr>
            <p:cNvPr id="70" name="Freeform 41"/>
            <p:cNvSpPr>
              <a:spLocks/>
            </p:cNvSpPr>
            <p:nvPr/>
          </p:nvSpPr>
          <p:spPr bwMode="auto">
            <a:xfrm>
              <a:off x="3423159" y="4756323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42"/>
            <p:cNvSpPr>
              <a:spLocks/>
            </p:cNvSpPr>
            <p:nvPr/>
          </p:nvSpPr>
          <p:spPr bwMode="auto">
            <a:xfrm>
              <a:off x="3544944" y="4878109"/>
              <a:ext cx="71214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5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43"/>
            <p:cNvSpPr>
              <a:spLocks/>
            </p:cNvSpPr>
            <p:nvPr/>
          </p:nvSpPr>
          <p:spPr bwMode="auto">
            <a:xfrm>
              <a:off x="3417998" y="4875012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6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6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9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44"/>
            <p:cNvSpPr>
              <a:spLocks/>
            </p:cNvSpPr>
            <p:nvPr/>
          </p:nvSpPr>
          <p:spPr bwMode="auto">
            <a:xfrm>
              <a:off x="3541848" y="4751163"/>
              <a:ext cx="72245" cy="71214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6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0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2"/>
                    <a:pt x="0" y="18"/>
                    <a:pt x="2" y="16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5" name="Agrupar 134"/>
          <p:cNvGrpSpPr/>
          <p:nvPr/>
        </p:nvGrpSpPr>
        <p:grpSpPr>
          <a:xfrm>
            <a:off x="4389539" y="2703653"/>
            <a:ext cx="917997" cy="652828"/>
            <a:chOff x="6351" y="1588"/>
            <a:chExt cx="1082675" cy="769938"/>
          </a:xfrm>
          <a:solidFill>
            <a:schemeClr val="bg1"/>
          </a:solidFill>
        </p:grpSpPr>
        <p:sp>
          <p:nvSpPr>
            <p:cNvPr id="128" name="Freeform 48"/>
            <p:cNvSpPr>
              <a:spLocks/>
            </p:cNvSpPr>
            <p:nvPr/>
          </p:nvSpPr>
          <p:spPr bwMode="auto">
            <a:xfrm>
              <a:off x="6351" y="1588"/>
              <a:ext cx="338138" cy="339725"/>
            </a:xfrm>
            <a:custGeom>
              <a:avLst/>
              <a:gdLst>
                <a:gd name="T0" fmla="*/ 72 w 79"/>
                <a:gd name="T1" fmla="*/ 78 h 79"/>
                <a:gd name="T2" fmla="*/ 67 w 79"/>
                <a:gd name="T3" fmla="*/ 75 h 79"/>
                <a:gd name="T4" fmla="*/ 40 w 79"/>
                <a:gd name="T5" fmla="*/ 19 h 79"/>
                <a:gd name="T6" fmla="*/ 12 w 79"/>
                <a:gd name="T7" fmla="*/ 75 h 79"/>
                <a:gd name="T8" fmla="*/ 4 w 79"/>
                <a:gd name="T9" fmla="*/ 77 h 79"/>
                <a:gd name="T10" fmla="*/ 1 w 79"/>
                <a:gd name="T11" fmla="*/ 69 h 79"/>
                <a:gd name="T12" fmla="*/ 35 w 79"/>
                <a:gd name="T13" fmla="*/ 3 h 79"/>
                <a:gd name="T14" fmla="*/ 40 w 79"/>
                <a:gd name="T15" fmla="*/ 0 h 79"/>
                <a:gd name="T16" fmla="*/ 40 w 79"/>
                <a:gd name="T17" fmla="*/ 0 h 79"/>
                <a:gd name="T18" fmla="*/ 46 w 79"/>
                <a:gd name="T19" fmla="*/ 3 h 79"/>
                <a:gd name="T20" fmla="*/ 78 w 79"/>
                <a:gd name="T21" fmla="*/ 70 h 79"/>
                <a:gd name="T22" fmla="*/ 75 w 79"/>
                <a:gd name="T23" fmla="*/ 78 h 79"/>
                <a:gd name="T24" fmla="*/ 72 w 79"/>
                <a:gd name="T25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79">
                  <a:moveTo>
                    <a:pt x="72" y="78"/>
                  </a:moveTo>
                  <a:cubicBezTo>
                    <a:pt x="70" y="78"/>
                    <a:pt x="68" y="77"/>
                    <a:pt x="67" y="75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8"/>
                    <a:pt x="7" y="79"/>
                    <a:pt x="4" y="77"/>
                  </a:cubicBezTo>
                  <a:cubicBezTo>
                    <a:pt x="1" y="76"/>
                    <a:pt x="0" y="72"/>
                    <a:pt x="1" y="69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1"/>
                    <a:pt x="38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5" y="1"/>
                    <a:pt x="46" y="3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9" y="73"/>
                    <a:pt x="78" y="76"/>
                    <a:pt x="75" y="78"/>
                  </a:cubicBezTo>
                  <a:cubicBezTo>
                    <a:pt x="74" y="78"/>
                    <a:pt x="73" y="78"/>
                    <a:pt x="7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reeform 49"/>
            <p:cNvSpPr>
              <a:spLocks/>
            </p:cNvSpPr>
            <p:nvPr/>
          </p:nvSpPr>
          <p:spPr bwMode="auto">
            <a:xfrm>
              <a:off x="57151" y="185738"/>
              <a:ext cx="234950" cy="52388"/>
            </a:xfrm>
            <a:custGeom>
              <a:avLst/>
              <a:gdLst>
                <a:gd name="T0" fmla="*/ 49 w 55"/>
                <a:gd name="T1" fmla="*/ 12 h 12"/>
                <a:gd name="T2" fmla="*/ 6 w 55"/>
                <a:gd name="T3" fmla="*/ 12 h 12"/>
                <a:gd name="T4" fmla="*/ 0 w 55"/>
                <a:gd name="T5" fmla="*/ 6 h 12"/>
                <a:gd name="T6" fmla="*/ 6 w 55"/>
                <a:gd name="T7" fmla="*/ 0 h 12"/>
                <a:gd name="T8" fmla="*/ 49 w 55"/>
                <a:gd name="T9" fmla="*/ 0 h 12"/>
                <a:gd name="T10" fmla="*/ 55 w 55"/>
                <a:gd name="T11" fmla="*/ 6 h 12"/>
                <a:gd name="T12" fmla="*/ 49 w 5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">
                  <a:moveTo>
                    <a:pt x="4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6"/>
                  </a:cubicBezTo>
                  <a:cubicBezTo>
                    <a:pt x="55" y="9"/>
                    <a:pt x="52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reeform 50"/>
            <p:cNvSpPr>
              <a:spLocks/>
            </p:cNvSpPr>
            <p:nvPr/>
          </p:nvSpPr>
          <p:spPr bwMode="auto">
            <a:xfrm>
              <a:off x="460376" y="22226"/>
              <a:ext cx="628650" cy="52388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reeform 51"/>
            <p:cNvSpPr>
              <a:spLocks/>
            </p:cNvSpPr>
            <p:nvPr/>
          </p:nvSpPr>
          <p:spPr bwMode="auto">
            <a:xfrm>
              <a:off x="460376" y="255588"/>
              <a:ext cx="628650" cy="50800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reeform 52"/>
            <p:cNvSpPr>
              <a:spLocks/>
            </p:cNvSpPr>
            <p:nvPr/>
          </p:nvSpPr>
          <p:spPr bwMode="auto">
            <a:xfrm>
              <a:off x="14288" y="487363"/>
              <a:ext cx="1074738" cy="52388"/>
            </a:xfrm>
            <a:custGeom>
              <a:avLst/>
              <a:gdLst>
                <a:gd name="T0" fmla="*/ 245 w 251"/>
                <a:gd name="T1" fmla="*/ 12 h 12"/>
                <a:gd name="T2" fmla="*/ 6 w 251"/>
                <a:gd name="T3" fmla="*/ 12 h 12"/>
                <a:gd name="T4" fmla="*/ 0 w 251"/>
                <a:gd name="T5" fmla="*/ 6 h 12"/>
                <a:gd name="T6" fmla="*/ 6 w 251"/>
                <a:gd name="T7" fmla="*/ 0 h 12"/>
                <a:gd name="T8" fmla="*/ 245 w 251"/>
                <a:gd name="T9" fmla="*/ 0 h 12"/>
                <a:gd name="T10" fmla="*/ 251 w 251"/>
                <a:gd name="T11" fmla="*/ 6 h 12"/>
                <a:gd name="T12" fmla="*/ 245 w 2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12">
                  <a:moveTo>
                    <a:pt x="2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9" y="0"/>
                    <a:pt x="251" y="3"/>
                    <a:pt x="251" y="6"/>
                  </a:cubicBezTo>
                  <a:cubicBezTo>
                    <a:pt x="251" y="9"/>
                    <a:pt x="249" y="12"/>
                    <a:pt x="24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reeform 53"/>
            <p:cNvSpPr>
              <a:spLocks/>
            </p:cNvSpPr>
            <p:nvPr/>
          </p:nvSpPr>
          <p:spPr bwMode="auto">
            <a:xfrm>
              <a:off x="14288" y="720726"/>
              <a:ext cx="642938" cy="50800"/>
            </a:xfrm>
            <a:custGeom>
              <a:avLst/>
              <a:gdLst>
                <a:gd name="T0" fmla="*/ 144 w 150"/>
                <a:gd name="T1" fmla="*/ 12 h 12"/>
                <a:gd name="T2" fmla="*/ 6 w 150"/>
                <a:gd name="T3" fmla="*/ 12 h 12"/>
                <a:gd name="T4" fmla="*/ 0 w 150"/>
                <a:gd name="T5" fmla="*/ 6 h 12"/>
                <a:gd name="T6" fmla="*/ 6 w 150"/>
                <a:gd name="T7" fmla="*/ 0 h 12"/>
                <a:gd name="T8" fmla="*/ 144 w 150"/>
                <a:gd name="T9" fmla="*/ 0 h 12"/>
                <a:gd name="T10" fmla="*/ 150 w 150"/>
                <a:gd name="T11" fmla="*/ 6 h 12"/>
                <a:gd name="T12" fmla="*/ 144 w 15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">
                  <a:moveTo>
                    <a:pt x="14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0"/>
                    <a:pt x="150" y="3"/>
                    <a:pt x="150" y="6"/>
                  </a:cubicBezTo>
                  <a:cubicBezTo>
                    <a:pt x="150" y="9"/>
                    <a:pt x="14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reeform 54"/>
            <p:cNvSpPr>
              <a:spLocks/>
            </p:cNvSpPr>
            <p:nvPr/>
          </p:nvSpPr>
          <p:spPr bwMode="auto">
            <a:xfrm>
              <a:off x="785813" y="720726"/>
              <a:ext cx="303213" cy="50800"/>
            </a:xfrm>
            <a:custGeom>
              <a:avLst/>
              <a:gdLst>
                <a:gd name="T0" fmla="*/ 65 w 71"/>
                <a:gd name="T1" fmla="*/ 12 h 12"/>
                <a:gd name="T2" fmla="*/ 6 w 71"/>
                <a:gd name="T3" fmla="*/ 12 h 12"/>
                <a:gd name="T4" fmla="*/ 0 w 71"/>
                <a:gd name="T5" fmla="*/ 6 h 12"/>
                <a:gd name="T6" fmla="*/ 6 w 71"/>
                <a:gd name="T7" fmla="*/ 0 h 12"/>
                <a:gd name="T8" fmla="*/ 65 w 71"/>
                <a:gd name="T9" fmla="*/ 0 h 12"/>
                <a:gd name="T10" fmla="*/ 71 w 71"/>
                <a:gd name="T11" fmla="*/ 6 h 12"/>
                <a:gd name="T12" fmla="*/ 65 w 7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2">
                  <a:moveTo>
                    <a:pt x="6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1" y="3"/>
                    <a:pt x="71" y="6"/>
                  </a:cubicBezTo>
                  <a:cubicBezTo>
                    <a:pt x="71" y="9"/>
                    <a:pt x="69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" name="Freeform 62"/>
          <p:cNvSpPr>
            <a:spLocks noEditPoints="1"/>
          </p:cNvSpPr>
          <p:nvPr/>
        </p:nvSpPr>
        <p:spPr bwMode="auto">
          <a:xfrm>
            <a:off x="13017643" y="4765297"/>
            <a:ext cx="1493231" cy="1613516"/>
          </a:xfrm>
          <a:custGeom>
            <a:avLst/>
            <a:gdLst>
              <a:gd name="T0" fmla="*/ 26 w 458"/>
              <a:gd name="T1" fmla="*/ 460 h 495"/>
              <a:gd name="T2" fmla="*/ 70 w 458"/>
              <a:gd name="T3" fmla="*/ 440 h 495"/>
              <a:gd name="T4" fmla="*/ 0 w 458"/>
              <a:gd name="T5" fmla="*/ 282 h 495"/>
              <a:gd name="T6" fmla="*/ 132 w 458"/>
              <a:gd name="T7" fmla="*/ 0 h 495"/>
              <a:gd name="T8" fmla="*/ 147 w 458"/>
              <a:gd name="T9" fmla="*/ 297 h 495"/>
              <a:gd name="T10" fmla="*/ 96 w 458"/>
              <a:gd name="T11" fmla="*/ 448 h 495"/>
              <a:gd name="T12" fmla="*/ 309 w 458"/>
              <a:gd name="T13" fmla="*/ 440 h 495"/>
              <a:gd name="T14" fmla="*/ 219 w 458"/>
              <a:gd name="T15" fmla="*/ 354 h 495"/>
              <a:gd name="T16" fmla="*/ 202 w 458"/>
              <a:gd name="T17" fmla="*/ 326 h 495"/>
              <a:gd name="T18" fmla="*/ 172 w 458"/>
              <a:gd name="T19" fmla="*/ 136 h 495"/>
              <a:gd name="T20" fmla="*/ 427 w 458"/>
              <a:gd name="T21" fmla="*/ 106 h 495"/>
              <a:gd name="T22" fmla="*/ 449 w 458"/>
              <a:gd name="T23" fmla="*/ 317 h 495"/>
              <a:gd name="T24" fmla="*/ 388 w 458"/>
              <a:gd name="T25" fmla="*/ 347 h 495"/>
              <a:gd name="T26" fmla="*/ 404 w 458"/>
              <a:gd name="T27" fmla="*/ 392 h 495"/>
              <a:gd name="T28" fmla="*/ 335 w 458"/>
              <a:gd name="T29" fmla="*/ 448 h 495"/>
              <a:gd name="T30" fmla="*/ 440 w 458"/>
              <a:gd name="T31" fmla="*/ 473 h 495"/>
              <a:gd name="T32" fmla="*/ 315 w 458"/>
              <a:gd name="T33" fmla="*/ 495 h 495"/>
              <a:gd name="T34" fmla="*/ 96 w 458"/>
              <a:gd name="T35" fmla="*/ 487 h 495"/>
              <a:gd name="T36" fmla="*/ 49 w 458"/>
              <a:gd name="T37" fmla="*/ 473 h 495"/>
              <a:gd name="T38" fmla="*/ 300 w 458"/>
              <a:gd name="T39" fmla="*/ 467 h 495"/>
              <a:gd name="T40" fmla="*/ 330 w 458"/>
              <a:gd name="T41" fmla="*/ 467 h 495"/>
              <a:gd name="T42" fmla="*/ 388 w 458"/>
              <a:gd name="T43" fmla="*/ 360 h 495"/>
              <a:gd name="T44" fmla="*/ 232 w 458"/>
              <a:gd name="T45" fmla="*/ 360 h 495"/>
              <a:gd name="T46" fmla="*/ 375 w 458"/>
              <a:gd name="T47" fmla="*/ 326 h 495"/>
              <a:gd name="T48" fmla="*/ 229 w 458"/>
              <a:gd name="T49" fmla="*/ 226 h 495"/>
              <a:gd name="T50" fmla="*/ 219 w 458"/>
              <a:gd name="T51" fmla="*/ 217 h 495"/>
              <a:gd name="T52" fmla="*/ 255 w 458"/>
              <a:gd name="T53" fmla="*/ 157 h 495"/>
              <a:gd name="T54" fmla="*/ 214 w 458"/>
              <a:gd name="T55" fmla="*/ 189 h 495"/>
              <a:gd name="T56" fmla="*/ 197 w 458"/>
              <a:gd name="T57" fmla="*/ 132 h 495"/>
              <a:gd name="T58" fmla="*/ 432 w 458"/>
              <a:gd name="T59" fmla="*/ 132 h 495"/>
              <a:gd name="T60" fmla="*/ 445 w 458"/>
              <a:gd name="T61" fmla="*/ 136 h 495"/>
              <a:gd name="T62" fmla="*/ 190 w 458"/>
              <a:gd name="T63" fmla="*/ 124 h 495"/>
              <a:gd name="T64" fmla="*/ 192 w 458"/>
              <a:gd name="T65" fmla="*/ 254 h 495"/>
              <a:gd name="T66" fmla="*/ 423 w 458"/>
              <a:gd name="T67" fmla="*/ 142 h 495"/>
              <a:gd name="T68" fmla="*/ 205 w 458"/>
              <a:gd name="T69" fmla="*/ 146 h 495"/>
              <a:gd name="T70" fmla="*/ 302 w 458"/>
              <a:gd name="T71" fmla="*/ 278 h 495"/>
              <a:gd name="T72" fmla="*/ 302 w 458"/>
              <a:gd name="T73" fmla="*/ 303 h 495"/>
              <a:gd name="T74" fmla="*/ 333 w 458"/>
              <a:gd name="T75" fmla="*/ 291 h 495"/>
              <a:gd name="T76" fmla="*/ 315 w 458"/>
              <a:gd name="T77" fmla="*/ 286 h 495"/>
              <a:gd name="T78" fmla="*/ 315 w 458"/>
              <a:gd name="T79" fmla="*/ 296 h 495"/>
              <a:gd name="T80" fmla="*/ 318 w 458"/>
              <a:gd name="T81" fmla="*/ 287 h 495"/>
              <a:gd name="T82" fmla="*/ 190 w 458"/>
              <a:gd name="T83" fmla="*/ 308 h 495"/>
              <a:gd name="T84" fmla="*/ 440 w 458"/>
              <a:gd name="T85" fmla="*/ 308 h 495"/>
              <a:gd name="T86" fmla="*/ 140 w 458"/>
              <a:gd name="T87" fmla="*/ 168 h 495"/>
              <a:gd name="T88" fmla="*/ 140 w 458"/>
              <a:gd name="T89" fmla="*/ 181 h 495"/>
              <a:gd name="T90" fmla="*/ 21 w 458"/>
              <a:gd name="T91" fmla="*/ 290 h 495"/>
              <a:gd name="T92" fmla="*/ 140 w 458"/>
              <a:gd name="T93" fmla="*/ 181 h 495"/>
              <a:gd name="T94" fmla="*/ 138 w 458"/>
              <a:gd name="T95" fmla="*/ 16 h 495"/>
              <a:gd name="T96" fmla="*/ 13 w 458"/>
              <a:gd name="T97" fmla="*/ 21 h 495"/>
              <a:gd name="T98" fmla="*/ 13 w 458"/>
              <a:gd name="T99" fmla="*/ 123 h 495"/>
              <a:gd name="T100" fmla="*/ 96 w 458"/>
              <a:gd name="T101" fmla="*/ 200 h 495"/>
              <a:gd name="T102" fmla="*/ 96 w 458"/>
              <a:gd name="T103" fmla="*/ 227 h 495"/>
              <a:gd name="T104" fmla="*/ 123 w 458"/>
              <a:gd name="T105" fmla="*/ 227 h 495"/>
              <a:gd name="T106" fmla="*/ 114 w 458"/>
              <a:gd name="T107" fmla="*/ 209 h 495"/>
              <a:gd name="T108" fmla="*/ 103 w 458"/>
              <a:gd name="T109" fmla="*/ 213 h 495"/>
              <a:gd name="T110" fmla="*/ 114 w 458"/>
              <a:gd name="T111" fmla="*/ 218 h 495"/>
              <a:gd name="T112" fmla="*/ 109 w 458"/>
              <a:gd name="T113" fmla="*/ 237 h 495"/>
              <a:gd name="T114" fmla="*/ 109 w 458"/>
              <a:gd name="T115" fmla="*/ 282 h 495"/>
              <a:gd name="T116" fmla="*/ 109 w 458"/>
              <a:gd name="T117" fmla="*/ 237 h 495"/>
              <a:gd name="T118" fmla="*/ 100 w 458"/>
              <a:gd name="T119" fmla="*/ 260 h 495"/>
              <a:gd name="T120" fmla="*/ 119 w 458"/>
              <a:gd name="T121" fmla="*/ 260 h 495"/>
              <a:gd name="T122" fmla="*/ 66 w 458"/>
              <a:gd name="T123" fmla="*/ 457 h 495"/>
              <a:gd name="T124" fmla="*/ 87 w 458"/>
              <a:gd name="T125" fmla="*/ 478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8" h="495">
                <a:moveTo>
                  <a:pt x="49" y="473"/>
                </a:moveTo>
                <a:cubicBezTo>
                  <a:pt x="26" y="473"/>
                  <a:pt x="26" y="473"/>
                  <a:pt x="26" y="473"/>
                </a:cubicBezTo>
                <a:cubicBezTo>
                  <a:pt x="23" y="473"/>
                  <a:pt x="20" y="470"/>
                  <a:pt x="20" y="466"/>
                </a:cubicBezTo>
                <a:cubicBezTo>
                  <a:pt x="20" y="462"/>
                  <a:pt x="23" y="460"/>
                  <a:pt x="26" y="460"/>
                </a:cubicBezTo>
                <a:cubicBezTo>
                  <a:pt x="50" y="460"/>
                  <a:pt x="50" y="460"/>
                  <a:pt x="50" y="460"/>
                </a:cubicBezTo>
                <a:cubicBezTo>
                  <a:pt x="51" y="455"/>
                  <a:pt x="54" y="451"/>
                  <a:pt x="57" y="448"/>
                </a:cubicBezTo>
                <a:cubicBezTo>
                  <a:pt x="57" y="448"/>
                  <a:pt x="57" y="448"/>
                  <a:pt x="57" y="448"/>
                </a:cubicBezTo>
                <a:cubicBezTo>
                  <a:pt x="61" y="444"/>
                  <a:pt x="65" y="442"/>
                  <a:pt x="70" y="440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21" y="303"/>
                  <a:pt x="21" y="303"/>
                  <a:pt x="21" y="303"/>
                </a:cubicBezTo>
                <a:cubicBezTo>
                  <a:pt x="16" y="303"/>
                  <a:pt x="10" y="301"/>
                  <a:pt x="7" y="297"/>
                </a:cubicBezTo>
                <a:cubicBezTo>
                  <a:pt x="3" y="293"/>
                  <a:pt x="0" y="288"/>
                  <a:pt x="0" y="28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3" y="10"/>
                  <a:pt x="7" y="6"/>
                </a:cubicBezTo>
                <a:cubicBezTo>
                  <a:pt x="10" y="3"/>
                  <a:pt x="16" y="0"/>
                  <a:pt x="21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8" y="0"/>
                  <a:pt x="143" y="3"/>
                  <a:pt x="147" y="6"/>
                </a:cubicBezTo>
                <a:cubicBezTo>
                  <a:pt x="151" y="10"/>
                  <a:pt x="153" y="15"/>
                  <a:pt x="153" y="21"/>
                </a:cubicBezTo>
                <a:cubicBezTo>
                  <a:pt x="153" y="282"/>
                  <a:pt x="153" y="282"/>
                  <a:pt x="153" y="282"/>
                </a:cubicBezTo>
                <a:cubicBezTo>
                  <a:pt x="153" y="288"/>
                  <a:pt x="151" y="293"/>
                  <a:pt x="147" y="297"/>
                </a:cubicBezTo>
                <a:cubicBezTo>
                  <a:pt x="143" y="301"/>
                  <a:pt x="138" y="303"/>
                  <a:pt x="132" y="303"/>
                </a:cubicBezTo>
                <a:cubicBezTo>
                  <a:pt x="83" y="303"/>
                  <a:pt x="83" y="303"/>
                  <a:pt x="83" y="303"/>
                </a:cubicBezTo>
                <a:cubicBezTo>
                  <a:pt x="83" y="440"/>
                  <a:pt x="83" y="440"/>
                  <a:pt x="83" y="440"/>
                </a:cubicBezTo>
                <a:cubicBezTo>
                  <a:pt x="88" y="442"/>
                  <a:pt x="93" y="444"/>
                  <a:pt x="96" y="448"/>
                </a:cubicBezTo>
                <a:cubicBezTo>
                  <a:pt x="100" y="451"/>
                  <a:pt x="102" y="455"/>
                  <a:pt x="103" y="460"/>
                </a:cubicBezTo>
                <a:cubicBezTo>
                  <a:pt x="289" y="460"/>
                  <a:pt x="289" y="460"/>
                  <a:pt x="289" y="460"/>
                </a:cubicBezTo>
                <a:cubicBezTo>
                  <a:pt x="290" y="455"/>
                  <a:pt x="292" y="451"/>
                  <a:pt x="296" y="448"/>
                </a:cubicBezTo>
                <a:cubicBezTo>
                  <a:pt x="299" y="444"/>
                  <a:pt x="304" y="442"/>
                  <a:pt x="309" y="440"/>
                </a:cubicBezTo>
                <a:cubicBezTo>
                  <a:pt x="309" y="392"/>
                  <a:pt x="309" y="392"/>
                  <a:pt x="309" y="392"/>
                </a:cubicBezTo>
                <a:cubicBezTo>
                  <a:pt x="226" y="392"/>
                  <a:pt x="226" y="392"/>
                  <a:pt x="226" y="392"/>
                </a:cubicBezTo>
                <a:cubicBezTo>
                  <a:pt x="222" y="392"/>
                  <a:pt x="219" y="389"/>
                  <a:pt x="219" y="385"/>
                </a:cubicBezTo>
                <a:cubicBezTo>
                  <a:pt x="219" y="354"/>
                  <a:pt x="219" y="354"/>
                  <a:pt x="219" y="354"/>
                </a:cubicBezTo>
                <a:cubicBezTo>
                  <a:pt x="219" y="350"/>
                  <a:pt x="222" y="347"/>
                  <a:pt x="226" y="347"/>
                </a:cubicBezTo>
                <a:cubicBezTo>
                  <a:pt x="242" y="347"/>
                  <a:pt x="242" y="347"/>
                  <a:pt x="242" y="347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194" y="326"/>
                  <a:pt x="186" y="323"/>
                  <a:pt x="181" y="317"/>
                </a:cubicBezTo>
                <a:cubicBezTo>
                  <a:pt x="181" y="317"/>
                  <a:pt x="181" y="317"/>
                  <a:pt x="181" y="317"/>
                </a:cubicBezTo>
                <a:cubicBezTo>
                  <a:pt x="175" y="311"/>
                  <a:pt x="172" y="304"/>
                  <a:pt x="172" y="296"/>
                </a:cubicBezTo>
                <a:cubicBezTo>
                  <a:pt x="172" y="136"/>
                  <a:pt x="172" y="136"/>
                  <a:pt x="172" y="136"/>
                </a:cubicBezTo>
                <a:cubicBezTo>
                  <a:pt x="172" y="128"/>
                  <a:pt x="175" y="120"/>
                  <a:pt x="181" y="115"/>
                </a:cubicBezTo>
                <a:cubicBezTo>
                  <a:pt x="181" y="115"/>
                  <a:pt x="181" y="115"/>
                  <a:pt x="181" y="115"/>
                </a:cubicBezTo>
                <a:cubicBezTo>
                  <a:pt x="186" y="109"/>
                  <a:pt x="194" y="106"/>
                  <a:pt x="202" y="106"/>
                </a:cubicBezTo>
                <a:cubicBezTo>
                  <a:pt x="427" y="106"/>
                  <a:pt x="427" y="106"/>
                  <a:pt x="427" y="106"/>
                </a:cubicBezTo>
                <a:cubicBezTo>
                  <a:pt x="436" y="106"/>
                  <a:pt x="443" y="109"/>
                  <a:pt x="449" y="115"/>
                </a:cubicBezTo>
                <a:cubicBezTo>
                  <a:pt x="454" y="120"/>
                  <a:pt x="458" y="128"/>
                  <a:pt x="458" y="136"/>
                </a:cubicBezTo>
                <a:cubicBezTo>
                  <a:pt x="458" y="296"/>
                  <a:pt x="458" y="296"/>
                  <a:pt x="458" y="296"/>
                </a:cubicBezTo>
                <a:cubicBezTo>
                  <a:pt x="458" y="304"/>
                  <a:pt x="454" y="311"/>
                  <a:pt x="449" y="317"/>
                </a:cubicBezTo>
                <a:cubicBezTo>
                  <a:pt x="449" y="317"/>
                  <a:pt x="449" y="317"/>
                  <a:pt x="449" y="317"/>
                </a:cubicBezTo>
                <a:cubicBezTo>
                  <a:pt x="443" y="323"/>
                  <a:pt x="436" y="326"/>
                  <a:pt x="427" y="326"/>
                </a:cubicBezTo>
                <a:cubicBezTo>
                  <a:pt x="388" y="326"/>
                  <a:pt x="388" y="326"/>
                  <a:pt x="388" y="326"/>
                </a:cubicBezTo>
                <a:cubicBezTo>
                  <a:pt x="388" y="347"/>
                  <a:pt x="388" y="347"/>
                  <a:pt x="388" y="347"/>
                </a:cubicBezTo>
                <a:cubicBezTo>
                  <a:pt x="404" y="347"/>
                  <a:pt x="404" y="347"/>
                  <a:pt x="404" y="347"/>
                </a:cubicBezTo>
                <a:cubicBezTo>
                  <a:pt x="408" y="347"/>
                  <a:pt x="411" y="350"/>
                  <a:pt x="411" y="354"/>
                </a:cubicBezTo>
                <a:cubicBezTo>
                  <a:pt x="411" y="385"/>
                  <a:pt x="411" y="385"/>
                  <a:pt x="411" y="385"/>
                </a:cubicBezTo>
                <a:cubicBezTo>
                  <a:pt x="411" y="389"/>
                  <a:pt x="408" y="392"/>
                  <a:pt x="404" y="392"/>
                </a:cubicBezTo>
                <a:cubicBezTo>
                  <a:pt x="322" y="392"/>
                  <a:pt x="322" y="392"/>
                  <a:pt x="322" y="392"/>
                </a:cubicBezTo>
                <a:cubicBezTo>
                  <a:pt x="322" y="440"/>
                  <a:pt x="322" y="440"/>
                  <a:pt x="322" y="440"/>
                </a:cubicBezTo>
                <a:cubicBezTo>
                  <a:pt x="327" y="442"/>
                  <a:pt x="331" y="444"/>
                  <a:pt x="335" y="448"/>
                </a:cubicBezTo>
                <a:cubicBezTo>
                  <a:pt x="335" y="448"/>
                  <a:pt x="335" y="448"/>
                  <a:pt x="335" y="448"/>
                </a:cubicBezTo>
                <a:cubicBezTo>
                  <a:pt x="338" y="451"/>
                  <a:pt x="341" y="455"/>
                  <a:pt x="342" y="460"/>
                </a:cubicBezTo>
                <a:cubicBezTo>
                  <a:pt x="440" y="460"/>
                  <a:pt x="440" y="460"/>
                  <a:pt x="440" y="460"/>
                </a:cubicBezTo>
                <a:cubicBezTo>
                  <a:pt x="444" y="460"/>
                  <a:pt x="447" y="462"/>
                  <a:pt x="447" y="466"/>
                </a:cubicBezTo>
                <a:cubicBezTo>
                  <a:pt x="447" y="470"/>
                  <a:pt x="444" y="473"/>
                  <a:pt x="440" y="473"/>
                </a:cubicBezTo>
                <a:cubicBezTo>
                  <a:pt x="343" y="473"/>
                  <a:pt x="343" y="473"/>
                  <a:pt x="343" y="473"/>
                </a:cubicBezTo>
                <a:cubicBezTo>
                  <a:pt x="341" y="478"/>
                  <a:pt x="339" y="483"/>
                  <a:pt x="335" y="487"/>
                </a:cubicBezTo>
                <a:cubicBezTo>
                  <a:pt x="335" y="487"/>
                  <a:pt x="335" y="487"/>
                  <a:pt x="335" y="487"/>
                </a:cubicBezTo>
                <a:cubicBezTo>
                  <a:pt x="330" y="492"/>
                  <a:pt x="323" y="495"/>
                  <a:pt x="315" y="495"/>
                </a:cubicBezTo>
                <a:cubicBezTo>
                  <a:pt x="308" y="495"/>
                  <a:pt x="301" y="492"/>
                  <a:pt x="296" y="487"/>
                </a:cubicBezTo>
                <a:cubicBezTo>
                  <a:pt x="292" y="483"/>
                  <a:pt x="289" y="478"/>
                  <a:pt x="288" y="473"/>
                </a:cubicBezTo>
                <a:cubicBezTo>
                  <a:pt x="104" y="473"/>
                  <a:pt x="104" y="473"/>
                  <a:pt x="104" y="473"/>
                </a:cubicBezTo>
                <a:cubicBezTo>
                  <a:pt x="103" y="478"/>
                  <a:pt x="100" y="483"/>
                  <a:pt x="96" y="487"/>
                </a:cubicBezTo>
                <a:cubicBezTo>
                  <a:pt x="91" y="492"/>
                  <a:pt x="84" y="495"/>
                  <a:pt x="77" y="495"/>
                </a:cubicBezTo>
                <a:cubicBezTo>
                  <a:pt x="69" y="495"/>
                  <a:pt x="62" y="492"/>
                  <a:pt x="57" y="487"/>
                </a:cubicBezTo>
                <a:cubicBezTo>
                  <a:pt x="57" y="487"/>
                  <a:pt x="57" y="487"/>
                  <a:pt x="57" y="487"/>
                </a:cubicBezTo>
                <a:cubicBezTo>
                  <a:pt x="53" y="483"/>
                  <a:pt x="50" y="478"/>
                  <a:pt x="49" y="473"/>
                </a:cubicBezTo>
                <a:close/>
                <a:moveTo>
                  <a:pt x="326" y="457"/>
                </a:moveTo>
                <a:cubicBezTo>
                  <a:pt x="323" y="454"/>
                  <a:pt x="319" y="453"/>
                  <a:pt x="315" y="453"/>
                </a:cubicBezTo>
                <a:cubicBezTo>
                  <a:pt x="311" y="453"/>
                  <a:pt x="307" y="454"/>
                  <a:pt x="305" y="457"/>
                </a:cubicBezTo>
                <a:cubicBezTo>
                  <a:pt x="302" y="460"/>
                  <a:pt x="300" y="463"/>
                  <a:pt x="300" y="467"/>
                </a:cubicBezTo>
                <a:cubicBezTo>
                  <a:pt x="300" y="471"/>
                  <a:pt x="302" y="475"/>
                  <a:pt x="305" y="478"/>
                </a:cubicBezTo>
                <a:cubicBezTo>
                  <a:pt x="307" y="480"/>
                  <a:pt x="311" y="482"/>
                  <a:pt x="315" y="482"/>
                </a:cubicBezTo>
                <a:cubicBezTo>
                  <a:pt x="319" y="482"/>
                  <a:pt x="323" y="480"/>
                  <a:pt x="326" y="478"/>
                </a:cubicBezTo>
                <a:cubicBezTo>
                  <a:pt x="328" y="475"/>
                  <a:pt x="330" y="471"/>
                  <a:pt x="330" y="467"/>
                </a:cubicBezTo>
                <a:cubicBezTo>
                  <a:pt x="330" y="463"/>
                  <a:pt x="328" y="460"/>
                  <a:pt x="326" y="457"/>
                </a:cubicBezTo>
                <a:close/>
                <a:moveTo>
                  <a:pt x="398" y="379"/>
                </a:moveTo>
                <a:cubicBezTo>
                  <a:pt x="398" y="360"/>
                  <a:pt x="398" y="360"/>
                  <a:pt x="398" y="360"/>
                </a:cubicBezTo>
                <a:cubicBezTo>
                  <a:pt x="388" y="360"/>
                  <a:pt x="388" y="360"/>
                  <a:pt x="388" y="360"/>
                </a:cubicBezTo>
                <a:cubicBezTo>
                  <a:pt x="382" y="360"/>
                  <a:pt x="382" y="360"/>
                  <a:pt x="382" y="360"/>
                </a:cubicBezTo>
                <a:cubicBezTo>
                  <a:pt x="249" y="360"/>
                  <a:pt x="249" y="360"/>
                  <a:pt x="249" y="360"/>
                </a:cubicBezTo>
                <a:cubicBezTo>
                  <a:pt x="242" y="360"/>
                  <a:pt x="242" y="360"/>
                  <a:pt x="242" y="360"/>
                </a:cubicBezTo>
                <a:cubicBezTo>
                  <a:pt x="232" y="360"/>
                  <a:pt x="232" y="360"/>
                  <a:pt x="232" y="360"/>
                </a:cubicBezTo>
                <a:cubicBezTo>
                  <a:pt x="232" y="379"/>
                  <a:pt x="232" y="379"/>
                  <a:pt x="232" y="379"/>
                </a:cubicBezTo>
                <a:cubicBezTo>
                  <a:pt x="398" y="379"/>
                  <a:pt x="398" y="379"/>
                  <a:pt x="398" y="379"/>
                </a:cubicBezTo>
                <a:close/>
                <a:moveTo>
                  <a:pt x="375" y="347"/>
                </a:moveTo>
                <a:cubicBezTo>
                  <a:pt x="375" y="326"/>
                  <a:pt x="375" y="326"/>
                  <a:pt x="375" y="326"/>
                </a:cubicBezTo>
                <a:cubicBezTo>
                  <a:pt x="255" y="326"/>
                  <a:pt x="255" y="326"/>
                  <a:pt x="255" y="326"/>
                </a:cubicBezTo>
                <a:cubicBezTo>
                  <a:pt x="255" y="347"/>
                  <a:pt x="255" y="347"/>
                  <a:pt x="255" y="347"/>
                </a:cubicBezTo>
                <a:cubicBezTo>
                  <a:pt x="375" y="347"/>
                  <a:pt x="375" y="347"/>
                  <a:pt x="375" y="347"/>
                </a:cubicBezTo>
                <a:close/>
                <a:moveTo>
                  <a:pt x="229" y="226"/>
                </a:moveTo>
                <a:cubicBezTo>
                  <a:pt x="287" y="166"/>
                  <a:pt x="287" y="166"/>
                  <a:pt x="287" y="166"/>
                </a:cubicBezTo>
                <a:cubicBezTo>
                  <a:pt x="289" y="163"/>
                  <a:pt x="289" y="159"/>
                  <a:pt x="286" y="157"/>
                </a:cubicBezTo>
                <a:cubicBezTo>
                  <a:pt x="284" y="154"/>
                  <a:pt x="280" y="154"/>
                  <a:pt x="277" y="157"/>
                </a:cubicBezTo>
                <a:cubicBezTo>
                  <a:pt x="219" y="217"/>
                  <a:pt x="219" y="217"/>
                  <a:pt x="219" y="217"/>
                </a:cubicBezTo>
                <a:cubicBezTo>
                  <a:pt x="217" y="220"/>
                  <a:pt x="217" y="224"/>
                  <a:pt x="219" y="226"/>
                </a:cubicBezTo>
                <a:cubicBezTo>
                  <a:pt x="222" y="229"/>
                  <a:pt x="226" y="229"/>
                  <a:pt x="229" y="226"/>
                </a:cubicBezTo>
                <a:close/>
                <a:moveTo>
                  <a:pt x="223" y="189"/>
                </a:moveTo>
                <a:cubicBezTo>
                  <a:pt x="255" y="157"/>
                  <a:pt x="255" y="157"/>
                  <a:pt x="255" y="157"/>
                </a:cubicBezTo>
                <a:cubicBezTo>
                  <a:pt x="258" y="155"/>
                  <a:pt x="258" y="151"/>
                  <a:pt x="255" y="148"/>
                </a:cubicBezTo>
                <a:cubicBezTo>
                  <a:pt x="253" y="145"/>
                  <a:pt x="249" y="145"/>
                  <a:pt x="246" y="148"/>
                </a:cubicBezTo>
                <a:cubicBezTo>
                  <a:pt x="214" y="180"/>
                  <a:pt x="214" y="180"/>
                  <a:pt x="214" y="180"/>
                </a:cubicBezTo>
                <a:cubicBezTo>
                  <a:pt x="212" y="182"/>
                  <a:pt x="212" y="186"/>
                  <a:pt x="214" y="189"/>
                </a:cubicBezTo>
                <a:cubicBezTo>
                  <a:pt x="217" y="191"/>
                  <a:pt x="221" y="191"/>
                  <a:pt x="223" y="189"/>
                </a:cubicBezTo>
                <a:close/>
                <a:moveTo>
                  <a:pt x="192" y="254"/>
                </a:moveTo>
                <a:cubicBezTo>
                  <a:pt x="192" y="146"/>
                  <a:pt x="192" y="146"/>
                  <a:pt x="192" y="146"/>
                </a:cubicBezTo>
                <a:cubicBezTo>
                  <a:pt x="192" y="141"/>
                  <a:pt x="194" y="136"/>
                  <a:pt x="197" y="132"/>
                </a:cubicBezTo>
                <a:cubicBezTo>
                  <a:pt x="201" y="129"/>
                  <a:pt x="206" y="127"/>
                  <a:pt x="211" y="127"/>
                </a:cubicBezTo>
                <a:cubicBezTo>
                  <a:pt x="418" y="127"/>
                  <a:pt x="418" y="127"/>
                  <a:pt x="418" y="127"/>
                </a:cubicBezTo>
                <a:cubicBezTo>
                  <a:pt x="424" y="127"/>
                  <a:pt x="428" y="129"/>
                  <a:pt x="432" y="132"/>
                </a:cubicBezTo>
                <a:cubicBezTo>
                  <a:pt x="432" y="132"/>
                  <a:pt x="432" y="132"/>
                  <a:pt x="432" y="132"/>
                </a:cubicBezTo>
                <a:cubicBezTo>
                  <a:pt x="435" y="136"/>
                  <a:pt x="438" y="141"/>
                  <a:pt x="438" y="146"/>
                </a:cubicBezTo>
                <a:cubicBezTo>
                  <a:pt x="438" y="254"/>
                  <a:pt x="438" y="254"/>
                  <a:pt x="438" y="254"/>
                </a:cubicBezTo>
                <a:cubicBezTo>
                  <a:pt x="445" y="254"/>
                  <a:pt x="445" y="254"/>
                  <a:pt x="445" y="254"/>
                </a:cubicBezTo>
                <a:cubicBezTo>
                  <a:pt x="445" y="136"/>
                  <a:pt x="445" y="136"/>
                  <a:pt x="445" y="136"/>
                </a:cubicBezTo>
                <a:cubicBezTo>
                  <a:pt x="445" y="132"/>
                  <a:pt x="443" y="127"/>
                  <a:pt x="440" y="124"/>
                </a:cubicBezTo>
                <a:cubicBezTo>
                  <a:pt x="437" y="121"/>
                  <a:pt x="432" y="119"/>
                  <a:pt x="427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7" y="119"/>
                  <a:pt x="193" y="121"/>
                  <a:pt x="190" y="124"/>
                </a:cubicBezTo>
                <a:cubicBezTo>
                  <a:pt x="190" y="124"/>
                  <a:pt x="190" y="124"/>
                  <a:pt x="190" y="124"/>
                </a:cubicBezTo>
                <a:cubicBezTo>
                  <a:pt x="187" y="127"/>
                  <a:pt x="185" y="132"/>
                  <a:pt x="185" y="136"/>
                </a:cubicBezTo>
                <a:cubicBezTo>
                  <a:pt x="185" y="254"/>
                  <a:pt x="185" y="254"/>
                  <a:pt x="185" y="254"/>
                </a:cubicBezTo>
                <a:cubicBezTo>
                  <a:pt x="192" y="254"/>
                  <a:pt x="192" y="254"/>
                  <a:pt x="192" y="254"/>
                </a:cubicBezTo>
                <a:close/>
                <a:moveTo>
                  <a:pt x="424" y="254"/>
                </a:moveTo>
                <a:cubicBezTo>
                  <a:pt x="424" y="146"/>
                  <a:pt x="424" y="146"/>
                  <a:pt x="424" y="146"/>
                </a:cubicBezTo>
                <a:cubicBezTo>
                  <a:pt x="424" y="144"/>
                  <a:pt x="424" y="143"/>
                  <a:pt x="423" y="142"/>
                </a:cubicBezTo>
                <a:cubicBezTo>
                  <a:pt x="423" y="142"/>
                  <a:pt x="423" y="142"/>
                  <a:pt x="423" y="142"/>
                </a:cubicBezTo>
                <a:cubicBezTo>
                  <a:pt x="422" y="140"/>
                  <a:pt x="420" y="140"/>
                  <a:pt x="418" y="140"/>
                </a:cubicBezTo>
                <a:cubicBezTo>
                  <a:pt x="211" y="140"/>
                  <a:pt x="211" y="140"/>
                  <a:pt x="211" y="140"/>
                </a:cubicBezTo>
                <a:cubicBezTo>
                  <a:pt x="209" y="140"/>
                  <a:pt x="208" y="140"/>
                  <a:pt x="207" y="142"/>
                </a:cubicBezTo>
                <a:cubicBezTo>
                  <a:pt x="206" y="143"/>
                  <a:pt x="205" y="144"/>
                  <a:pt x="205" y="146"/>
                </a:cubicBezTo>
                <a:cubicBezTo>
                  <a:pt x="205" y="254"/>
                  <a:pt x="205" y="254"/>
                  <a:pt x="205" y="254"/>
                </a:cubicBezTo>
                <a:cubicBezTo>
                  <a:pt x="424" y="254"/>
                  <a:pt x="424" y="254"/>
                  <a:pt x="424" y="254"/>
                </a:cubicBezTo>
                <a:close/>
                <a:moveTo>
                  <a:pt x="315" y="273"/>
                </a:moveTo>
                <a:cubicBezTo>
                  <a:pt x="310" y="273"/>
                  <a:pt x="305" y="275"/>
                  <a:pt x="302" y="278"/>
                </a:cubicBezTo>
                <a:cubicBezTo>
                  <a:pt x="302" y="278"/>
                  <a:pt x="302" y="278"/>
                  <a:pt x="302" y="278"/>
                </a:cubicBezTo>
                <a:cubicBezTo>
                  <a:pt x="299" y="281"/>
                  <a:pt x="297" y="286"/>
                  <a:pt x="297" y="291"/>
                </a:cubicBezTo>
                <a:cubicBezTo>
                  <a:pt x="297" y="296"/>
                  <a:pt x="299" y="300"/>
                  <a:pt x="302" y="303"/>
                </a:cubicBezTo>
                <a:cubicBezTo>
                  <a:pt x="302" y="303"/>
                  <a:pt x="302" y="303"/>
                  <a:pt x="302" y="303"/>
                </a:cubicBezTo>
                <a:cubicBezTo>
                  <a:pt x="305" y="307"/>
                  <a:pt x="310" y="309"/>
                  <a:pt x="315" y="309"/>
                </a:cubicBezTo>
                <a:cubicBezTo>
                  <a:pt x="320" y="309"/>
                  <a:pt x="324" y="307"/>
                  <a:pt x="327" y="303"/>
                </a:cubicBezTo>
                <a:cubicBezTo>
                  <a:pt x="327" y="303"/>
                  <a:pt x="327" y="303"/>
                  <a:pt x="327" y="303"/>
                </a:cubicBezTo>
                <a:cubicBezTo>
                  <a:pt x="331" y="300"/>
                  <a:pt x="333" y="296"/>
                  <a:pt x="333" y="291"/>
                </a:cubicBezTo>
                <a:cubicBezTo>
                  <a:pt x="333" y="286"/>
                  <a:pt x="331" y="281"/>
                  <a:pt x="327" y="278"/>
                </a:cubicBezTo>
                <a:cubicBezTo>
                  <a:pt x="324" y="275"/>
                  <a:pt x="320" y="273"/>
                  <a:pt x="315" y="273"/>
                </a:cubicBezTo>
                <a:close/>
                <a:moveTo>
                  <a:pt x="318" y="287"/>
                </a:moveTo>
                <a:cubicBezTo>
                  <a:pt x="317" y="287"/>
                  <a:pt x="316" y="286"/>
                  <a:pt x="315" y="286"/>
                </a:cubicBezTo>
                <a:cubicBezTo>
                  <a:pt x="313" y="286"/>
                  <a:pt x="312" y="287"/>
                  <a:pt x="311" y="287"/>
                </a:cubicBezTo>
                <a:cubicBezTo>
                  <a:pt x="311" y="288"/>
                  <a:pt x="310" y="289"/>
                  <a:pt x="310" y="291"/>
                </a:cubicBezTo>
                <a:cubicBezTo>
                  <a:pt x="310" y="292"/>
                  <a:pt x="311" y="293"/>
                  <a:pt x="311" y="294"/>
                </a:cubicBezTo>
                <a:cubicBezTo>
                  <a:pt x="312" y="295"/>
                  <a:pt x="313" y="296"/>
                  <a:pt x="315" y="296"/>
                </a:cubicBezTo>
                <a:cubicBezTo>
                  <a:pt x="316" y="296"/>
                  <a:pt x="317" y="295"/>
                  <a:pt x="318" y="294"/>
                </a:cubicBezTo>
                <a:cubicBezTo>
                  <a:pt x="318" y="294"/>
                  <a:pt x="318" y="294"/>
                  <a:pt x="318" y="294"/>
                </a:cubicBezTo>
                <a:cubicBezTo>
                  <a:pt x="319" y="293"/>
                  <a:pt x="319" y="292"/>
                  <a:pt x="319" y="291"/>
                </a:cubicBezTo>
                <a:cubicBezTo>
                  <a:pt x="319" y="289"/>
                  <a:pt x="319" y="288"/>
                  <a:pt x="318" y="287"/>
                </a:cubicBezTo>
                <a:close/>
                <a:moveTo>
                  <a:pt x="445" y="267"/>
                </a:moveTo>
                <a:cubicBezTo>
                  <a:pt x="185" y="267"/>
                  <a:pt x="185" y="267"/>
                  <a:pt x="185" y="267"/>
                </a:cubicBezTo>
                <a:cubicBezTo>
                  <a:pt x="185" y="296"/>
                  <a:pt x="185" y="296"/>
                  <a:pt x="185" y="296"/>
                </a:cubicBezTo>
                <a:cubicBezTo>
                  <a:pt x="185" y="300"/>
                  <a:pt x="187" y="305"/>
                  <a:pt x="190" y="308"/>
                </a:cubicBezTo>
                <a:cubicBezTo>
                  <a:pt x="193" y="311"/>
                  <a:pt x="197" y="313"/>
                  <a:pt x="202" y="313"/>
                </a:cubicBezTo>
                <a:cubicBezTo>
                  <a:pt x="427" y="313"/>
                  <a:pt x="427" y="313"/>
                  <a:pt x="427" y="313"/>
                </a:cubicBezTo>
                <a:cubicBezTo>
                  <a:pt x="432" y="313"/>
                  <a:pt x="437" y="311"/>
                  <a:pt x="440" y="308"/>
                </a:cubicBezTo>
                <a:cubicBezTo>
                  <a:pt x="440" y="308"/>
                  <a:pt x="440" y="308"/>
                  <a:pt x="440" y="308"/>
                </a:cubicBezTo>
                <a:cubicBezTo>
                  <a:pt x="443" y="305"/>
                  <a:pt x="445" y="300"/>
                  <a:pt x="445" y="296"/>
                </a:cubicBezTo>
                <a:cubicBezTo>
                  <a:pt x="445" y="267"/>
                  <a:pt x="445" y="267"/>
                  <a:pt x="445" y="267"/>
                </a:cubicBezTo>
                <a:close/>
                <a:moveTo>
                  <a:pt x="13" y="168"/>
                </a:moveTo>
                <a:cubicBezTo>
                  <a:pt x="140" y="168"/>
                  <a:pt x="140" y="168"/>
                  <a:pt x="140" y="168"/>
                </a:cubicBezTo>
                <a:cubicBezTo>
                  <a:pt x="140" y="136"/>
                  <a:pt x="140" y="136"/>
                  <a:pt x="140" y="136"/>
                </a:cubicBezTo>
                <a:cubicBezTo>
                  <a:pt x="13" y="136"/>
                  <a:pt x="13" y="136"/>
                  <a:pt x="13" y="136"/>
                </a:cubicBezTo>
                <a:cubicBezTo>
                  <a:pt x="13" y="168"/>
                  <a:pt x="13" y="168"/>
                  <a:pt x="13" y="168"/>
                </a:cubicBezTo>
                <a:close/>
                <a:moveTo>
                  <a:pt x="140" y="181"/>
                </a:moveTo>
                <a:cubicBezTo>
                  <a:pt x="13" y="181"/>
                  <a:pt x="13" y="181"/>
                  <a:pt x="13" y="181"/>
                </a:cubicBezTo>
                <a:cubicBezTo>
                  <a:pt x="13" y="282"/>
                  <a:pt x="13" y="282"/>
                  <a:pt x="13" y="282"/>
                </a:cubicBezTo>
                <a:cubicBezTo>
                  <a:pt x="13" y="284"/>
                  <a:pt x="14" y="286"/>
                  <a:pt x="16" y="288"/>
                </a:cubicBezTo>
                <a:cubicBezTo>
                  <a:pt x="17" y="289"/>
                  <a:pt x="19" y="290"/>
                  <a:pt x="21" y="290"/>
                </a:cubicBezTo>
                <a:cubicBezTo>
                  <a:pt x="132" y="290"/>
                  <a:pt x="132" y="290"/>
                  <a:pt x="132" y="290"/>
                </a:cubicBezTo>
                <a:cubicBezTo>
                  <a:pt x="134" y="290"/>
                  <a:pt x="136" y="289"/>
                  <a:pt x="138" y="288"/>
                </a:cubicBezTo>
                <a:cubicBezTo>
                  <a:pt x="139" y="286"/>
                  <a:pt x="140" y="284"/>
                  <a:pt x="140" y="282"/>
                </a:cubicBezTo>
                <a:cubicBezTo>
                  <a:pt x="140" y="181"/>
                  <a:pt x="140" y="181"/>
                  <a:pt x="140" y="181"/>
                </a:cubicBezTo>
                <a:close/>
                <a:moveTo>
                  <a:pt x="13" y="78"/>
                </a:moveTo>
                <a:cubicBezTo>
                  <a:pt x="140" y="78"/>
                  <a:pt x="140" y="78"/>
                  <a:pt x="140" y="78"/>
                </a:cubicBezTo>
                <a:cubicBezTo>
                  <a:pt x="140" y="21"/>
                  <a:pt x="140" y="21"/>
                  <a:pt x="140" y="21"/>
                </a:cubicBezTo>
                <a:cubicBezTo>
                  <a:pt x="140" y="19"/>
                  <a:pt x="139" y="17"/>
                  <a:pt x="138" y="16"/>
                </a:cubicBezTo>
                <a:cubicBezTo>
                  <a:pt x="136" y="14"/>
                  <a:pt x="134" y="13"/>
                  <a:pt x="132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19" y="13"/>
                  <a:pt x="17" y="14"/>
                  <a:pt x="16" y="16"/>
                </a:cubicBezTo>
                <a:cubicBezTo>
                  <a:pt x="14" y="17"/>
                  <a:pt x="13" y="19"/>
                  <a:pt x="13" y="21"/>
                </a:cubicBezTo>
                <a:cubicBezTo>
                  <a:pt x="13" y="78"/>
                  <a:pt x="13" y="78"/>
                  <a:pt x="13" y="78"/>
                </a:cubicBezTo>
                <a:close/>
                <a:moveTo>
                  <a:pt x="140" y="91"/>
                </a:moveTo>
                <a:cubicBezTo>
                  <a:pt x="13" y="91"/>
                  <a:pt x="13" y="91"/>
                  <a:pt x="13" y="91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40" y="123"/>
                  <a:pt x="140" y="123"/>
                  <a:pt x="140" y="123"/>
                </a:cubicBezTo>
                <a:cubicBezTo>
                  <a:pt x="140" y="91"/>
                  <a:pt x="140" y="91"/>
                  <a:pt x="140" y="91"/>
                </a:cubicBezTo>
                <a:close/>
                <a:moveTo>
                  <a:pt x="109" y="194"/>
                </a:moveTo>
                <a:cubicBezTo>
                  <a:pt x="104" y="194"/>
                  <a:pt x="99" y="196"/>
                  <a:pt x="96" y="200"/>
                </a:cubicBezTo>
                <a:cubicBezTo>
                  <a:pt x="96" y="200"/>
                  <a:pt x="96" y="200"/>
                  <a:pt x="96" y="200"/>
                </a:cubicBezTo>
                <a:cubicBezTo>
                  <a:pt x="92" y="203"/>
                  <a:pt x="90" y="208"/>
                  <a:pt x="90" y="213"/>
                </a:cubicBezTo>
                <a:cubicBezTo>
                  <a:pt x="90" y="219"/>
                  <a:pt x="92" y="223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9" y="231"/>
                  <a:pt x="104" y="233"/>
                  <a:pt x="109" y="233"/>
                </a:cubicBezTo>
                <a:cubicBezTo>
                  <a:pt x="115" y="233"/>
                  <a:pt x="120" y="231"/>
                  <a:pt x="123" y="227"/>
                </a:cubicBezTo>
                <a:cubicBezTo>
                  <a:pt x="123" y="227"/>
                  <a:pt x="123" y="227"/>
                  <a:pt x="123" y="227"/>
                </a:cubicBezTo>
                <a:cubicBezTo>
                  <a:pt x="127" y="224"/>
                  <a:pt x="129" y="219"/>
                  <a:pt x="129" y="213"/>
                </a:cubicBezTo>
                <a:cubicBezTo>
                  <a:pt x="129" y="208"/>
                  <a:pt x="127" y="203"/>
                  <a:pt x="123" y="200"/>
                </a:cubicBezTo>
                <a:cubicBezTo>
                  <a:pt x="120" y="196"/>
                  <a:pt x="115" y="194"/>
                  <a:pt x="109" y="194"/>
                </a:cubicBezTo>
                <a:close/>
                <a:moveTo>
                  <a:pt x="114" y="209"/>
                </a:moveTo>
                <a:cubicBezTo>
                  <a:pt x="113" y="208"/>
                  <a:pt x="111" y="207"/>
                  <a:pt x="109" y="207"/>
                </a:cubicBezTo>
                <a:cubicBezTo>
                  <a:pt x="108" y="207"/>
                  <a:pt x="106" y="208"/>
                  <a:pt x="105" y="209"/>
                </a:cubicBezTo>
                <a:cubicBezTo>
                  <a:pt x="105" y="209"/>
                  <a:pt x="105" y="209"/>
                  <a:pt x="105" y="209"/>
                </a:cubicBezTo>
                <a:cubicBezTo>
                  <a:pt x="104" y="210"/>
                  <a:pt x="103" y="212"/>
                  <a:pt x="103" y="213"/>
                </a:cubicBezTo>
                <a:cubicBezTo>
                  <a:pt x="103" y="215"/>
                  <a:pt x="104" y="217"/>
                  <a:pt x="105" y="218"/>
                </a:cubicBezTo>
                <a:cubicBezTo>
                  <a:pt x="105" y="218"/>
                  <a:pt x="105" y="218"/>
                  <a:pt x="105" y="218"/>
                </a:cubicBezTo>
                <a:cubicBezTo>
                  <a:pt x="106" y="219"/>
                  <a:pt x="108" y="220"/>
                  <a:pt x="109" y="220"/>
                </a:cubicBezTo>
                <a:cubicBezTo>
                  <a:pt x="111" y="220"/>
                  <a:pt x="113" y="219"/>
                  <a:pt x="114" y="218"/>
                </a:cubicBezTo>
                <a:cubicBezTo>
                  <a:pt x="114" y="218"/>
                  <a:pt x="114" y="218"/>
                  <a:pt x="114" y="218"/>
                </a:cubicBezTo>
                <a:cubicBezTo>
                  <a:pt x="115" y="217"/>
                  <a:pt x="116" y="215"/>
                  <a:pt x="116" y="213"/>
                </a:cubicBezTo>
                <a:cubicBezTo>
                  <a:pt x="116" y="212"/>
                  <a:pt x="115" y="210"/>
                  <a:pt x="114" y="209"/>
                </a:cubicBezTo>
                <a:close/>
                <a:moveTo>
                  <a:pt x="109" y="237"/>
                </a:moveTo>
                <a:cubicBezTo>
                  <a:pt x="103" y="237"/>
                  <a:pt x="98" y="240"/>
                  <a:pt x="94" y="244"/>
                </a:cubicBezTo>
                <a:cubicBezTo>
                  <a:pt x="90" y="248"/>
                  <a:pt x="87" y="254"/>
                  <a:pt x="87" y="260"/>
                </a:cubicBezTo>
                <a:cubicBezTo>
                  <a:pt x="87" y="266"/>
                  <a:pt x="90" y="272"/>
                  <a:pt x="94" y="276"/>
                </a:cubicBezTo>
                <a:cubicBezTo>
                  <a:pt x="98" y="280"/>
                  <a:pt x="103" y="282"/>
                  <a:pt x="109" y="282"/>
                </a:cubicBezTo>
                <a:cubicBezTo>
                  <a:pt x="116" y="282"/>
                  <a:pt x="121" y="280"/>
                  <a:pt x="125" y="276"/>
                </a:cubicBezTo>
                <a:cubicBezTo>
                  <a:pt x="129" y="272"/>
                  <a:pt x="132" y="266"/>
                  <a:pt x="132" y="260"/>
                </a:cubicBezTo>
                <a:cubicBezTo>
                  <a:pt x="132" y="254"/>
                  <a:pt x="129" y="248"/>
                  <a:pt x="125" y="244"/>
                </a:cubicBezTo>
                <a:cubicBezTo>
                  <a:pt x="121" y="240"/>
                  <a:pt x="116" y="237"/>
                  <a:pt x="109" y="237"/>
                </a:cubicBezTo>
                <a:close/>
                <a:moveTo>
                  <a:pt x="116" y="253"/>
                </a:moveTo>
                <a:cubicBezTo>
                  <a:pt x="114" y="252"/>
                  <a:pt x="112" y="251"/>
                  <a:pt x="109" y="251"/>
                </a:cubicBezTo>
                <a:cubicBezTo>
                  <a:pt x="107" y="251"/>
                  <a:pt x="105" y="252"/>
                  <a:pt x="103" y="253"/>
                </a:cubicBezTo>
                <a:cubicBezTo>
                  <a:pt x="101" y="255"/>
                  <a:pt x="100" y="257"/>
                  <a:pt x="100" y="260"/>
                </a:cubicBezTo>
                <a:cubicBezTo>
                  <a:pt x="100" y="262"/>
                  <a:pt x="101" y="265"/>
                  <a:pt x="103" y="267"/>
                </a:cubicBezTo>
                <a:cubicBezTo>
                  <a:pt x="105" y="268"/>
                  <a:pt x="107" y="269"/>
                  <a:pt x="109" y="269"/>
                </a:cubicBezTo>
                <a:cubicBezTo>
                  <a:pt x="112" y="269"/>
                  <a:pt x="114" y="268"/>
                  <a:pt x="116" y="267"/>
                </a:cubicBezTo>
                <a:cubicBezTo>
                  <a:pt x="118" y="265"/>
                  <a:pt x="119" y="262"/>
                  <a:pt x="119" y="260"/>
                </a:cubicBezTo>
                <a:cubicBezTo>
                  <a:pt x="119" y="257"/>
                  <a:pt x="118" y="255"/>
                  <a:pt x="116" y="253"/>
                </a:cubicBezTo>
                <a:close/>
                <a:moveTo>
                  <a:pt x="87" y="457"/>
                </a:moveTo>
                <a:cubicBezTo>
                  <a:pt x="84" y="454"/>
                  <a:pt x="81" y="453"/>
                  <a:pt x="77" y="453"/>
                </a:cubicBezTo>
                <a:cubicBezTo>
                  <a:pt x="73" y="453"/>
                  <a:pt x="69" y="454"/>
                  <a:pt x="66" y="457"/>
                </a:cubicBezTo>
                <a:cubicBezTo>
                  <a:pt x="64" y="460"/>
                  <a:pt x="62" y="463"/>
                  <a:pt x="62" y="467"/>
                </a:cubicBezTo>
                <a:cubicBezTo>
                  <a:pt x="62" y="471"/>
                  <a:pt x="64" y="475"/>
                  <a:pt x="66" y="478"/>
                </a:cubicBezTo>
                <a:cubicBezTo>
                  <a:pt x="69" y="480"/>
                  <a:pt x="73" y="482"/>
                  <a:pt x="77" y="482"/>
                </a:cubicBezTo>
                <a:cubicBezTo>
                  <a:pt x="81" y="482"/>
                  <a:pt x="84" y="480"/>
                  <a:pt x="87" y="478"/>
                </a:cubicBezTo>
                <a:cubicBezTo>
                  <a:pt x="90" y="475"/>
                  <a:pt x="91" y="471"/>
                  <a:pt x="91" y="467"/>
                </a:cubicBezTo>
                <a:cubicBezTo>
                  <a:pt x="91" y="463"/>
                  <a:pt x="90" y="460"/>
                  <a:pt x="87" y="457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7" name="Freeform 66"/>
          <p:cNvSpPr>
            <a:spLocks noEditPoints="1"/>
          </p:cNvSpPr>
          <p:nvPr/>
        </p:nvSpPr>
        <p:spPr bwMode="auto">
          <a:xfrm>
            <a:off x="3801033" y="12058134"/>
            <a:ext cx="1836460" cy="1965618"/>
          </a:xfrm>
          <a:custGeom>
            <a:avLst/>
            <a:gdLst>
              <a:gd name="T0" fmla="*/ 63 w 338"/>
              <a:gd name="T1" fmla="*/ 30 h 362"/>
              <a:gd name="T2" fmla="*/ 63 w 338"/>
              <a:gd name="T3" fmla="*/ 5 h 362"/>
              <a:gd name="T4" fmla="*/ 164 w 338"/>
              <a:gd name="T5" fmla="*/ 34 h 362"/>
              <a:gd name="T6" fmla="*/ 181 w 338"/>
              <a:gd name="T7" fmla="*/ 30 h 362"/>
              <a:gd name="T8" fmla="*/ 244 w 338"/>
              <a:gd name="T9" fmla="*/ 11 h 362"/>
              <a:gd name="T10" fmla="*/ 301 w 338"/>
              <a:gd name="T11" fmla="*/ 30 h 362"/>
              <a:gd name="T12" fmla="*/ 233 w 338"/>
              <a:gd name="T13" fmla="*/ 86 h 362"/>
              <a:gd name="T14" fmla="*/ 333 w 338"/>
              <a:gd name="T15" fmla="*/ 136 h 362"/>
              <a:gd name="T16" fmla="*/ 303 w 338"/>
              <a:gd name="T17" fmla="*/ 179 h 362"/>
              <a:gd name="T18" fmla="*/ 303 w 338"/>
              <a:gd name="T19" fmla="*/ 188 h 362"/>
              <a:gd name="T20" fmla="*/ 333 w 338"/>
              <a:gd name="T21" fmla="*/ 231 h 362"/>
              <a:gd name="T22" fmla="*/ 256 w 338"/>
              <a:gd name="T23" fmla="*/ 270 h 362"/>
              <a:gd name="T24" fmla="*/ 229 w 338"/>
              <a:gd name="T25" fmla="*/ 362 h 362"/>
              <a:gd name="T26" fmla="*/ 174 w 338"/>
              <a:gd name="T27" fmla="*/ 328 h 362"/>
              <a:gd name="T28" fmla="*/ 156 w 338"/>
              <a:gd name="T29" fmla="*/ 333 h 362"/>
              <a:gd name="T30" fmla="*/ 127 w 338"/>
              <a:gd name="T31" fmla="*/ 345 h 362"/>
              <a:gd name="T32" fmla="*/ 104 w 338"/>
              <a:gd name="T33" fmla="*/ 328 h 362"/>
              <a:gd name="T34" fmla="*/ 17 w 338"/>
              <a:gd name="T35" fmla="*/ 261 h 362"/>
              <a:gd name="T36" fmla="*/ 34 w 338"/>
              <a:gd name="T37" fmla="*/ 238 h 362"/>
              <a:gd name="T38" fmla="*/ 0 w 338"/>
              <a:gd name="T39" fmla="*/ 183 h 362"/>
              <a:gd name="T40" fmla="*/ 34 w 338"/>
              <a:gd name="T41" fmla="*/ 129 h 362"/>
              <a:gd name="T42" fmla="*/ 30 w 338"/>
              <a:gd name="T43" fmla="*/ 111 h 362"/>
              <a:gd name="T44" fmla="*/ 12 w 338"/>
              <a:gd name="T45" fmla="*/ 129 h 362"/>
              <a:gd name="T46" fmla="*/ 12 w 338"/>
              <a:gd name="T47" fmla="*/ 118 h 362"/>
              <a:gd name="T48" fmla="*/ 23 w 338"/>
              <a:gd name="T49" fmla="*/ 238 h 362"/>
              <a:gd name="T50" fmla="*/ 17 w 338"/>
              <a:gd name="T51" fmla="*/ 191 h 362"/>
              <a:gd name="T52" fmla="*/ 229 w 338"/>
              <a:gd name="T53" fmla="*/ 352 h 362"/>
              <a:gd name="T54" fmla="*/ 223 w 338"/>
              <a:gd name="T55" fmla="*/ 340 h 362"/>
              <a:gd name="T56" fmla="*/ 114 w 338"/>
              <a:gd name="T57" fmla="*/ 340 h 362"/>
              <a:gd name="T58" fmla="*/ 169 w 338"/>
              <a:gd name="T59" fmla="*/ 352 h 362"/>
              <a:gd name="T60" fmla="*/ 161 w 338"/>
              <a:gd name="T61" fmla="*/ 345 h 362"/>
              <a:gd name="T62" fmla="*/ 315 w 338"/>
              <a:gd name="T63" fmla="*/ 129 h 362"/>
              <a:gd name="T64" fmla="*/ 326 w 338"/>
              <a:gd name="T65" fmla="*/ 238 h 362"/>
              <a:gd name="T66" fmla="*/ 328 w 338"/>
              <a:gd name="T67" fmla="*/ 243 h 362"/>
              <a:gd name="T68" fmla="*/ 326 w 338"/>
              <a:gd name="T69" fmla="*/ 189 h 362"/>
              <a:gd name="T70" fmla="*/ 169 w 338"/>
              <a:gd name="T71" fmla="*/ 25 h 362"/>
              <a:gd name="T72" fmla="*/ 281 w 338"/>
              <a:gd name="T73" fmla="*/ 17 h 362"/>
              <a:gd name="T74" fmla="*/ 226 w 338"/>
              <a:gd name="T75" fmla="*/ 197 h 362"/>
              <a:gd name="T76" fmla="*/ 217 w 338"/>
              <a:gd name="T77" fmla="*/ 126 h 362"/>
              <a:gd name="T78" fmla="*/ 217 w 338"/>
              <a:gd name="T79" fmla="*/ 240 h 362"/>
              <a:gd name="T80" fmla="*/ 254 w 338"/>
              <a:gd name="T81" fmla="*/ 175 h 362"/>
              <a:gd name="T82" fmla="*/ 217 w 338"/>
              <a:gd name="T83" fmla="*/ 250 h 362"/>
              <a:gd name="T84" fmla="*/ 82 w 338"/>
              <a:gd name="T85" fmla="*/ 246 h 362"/>
              <a:gd name="T86" fmla="*/ 256 w 338"/>
              <a:gd name="T87" fmla="*/ 200 h 362"/>
              <a:gd name="T88" fmla="*/ 89 w 338"/>
              <a:gd name="T89" fmla="*/ 103 h 362"/>
              <a:gd name="T90" fmla="*/ 230 w 338"/>
              <a:gd name="T91" fmla="*/ 121 h 362"/>
              <a:gd name="T92" fmla="*/ 82 w 338"/>
              <a:gd name="T93" fmla="*/ 191 h 362"/>
              <a:gd name="T94" fmla="*/ 181 w 338"/>
              <a:gd name="T95" fmla="*/ 231 h 362"/>
              <a:gd name="T96" fmla="*/ 129 w 338"/>
              <a:gd name="T97" fmla="*/ 211 h 362"/>
              <a:gd name="T98" fmla="*/ 217 w 338"/>
              <a:gd name="T99" fmla="*/ 196 h 362"/>
              <a:gd name="T100" fmla="*/ 145 w 338"/>
              <a:gd name="T101" fmla="*/ 196 h 362"/>
              <a:gd name="T102" fmla="*/ 129 w 338"/>
              <a:gd name="T103" fmla="*/ 186 h 362"/>
              <a:gd name="T104" fmla="*/ 181 w 338"/>
              <a:gd name="T105" fmla="*/ 181 h 362"/>
              <a:gd name="T106" fmla="*/ 129 w 338"/>
              <a:gd name="T107" fmla="*/ 160 h 362"/>
              <a:gd name="T108" fmla="*/ 217 w 338"/>
              <a:gd name="T109" fmla="*/ 145 h 362"/>
              <a:gd name="T110" fmla="*/ 145 w 338"/>
              <a:gd name="T111" fmla="*/ 145 h 362"/>
              <a:gd name="T112" fmla="*/ 129 w 338"/>
              <a:gd name="T113" fmla="*/ 135 h 362"/>
              <a:gd name="T114" fmla="*/ 50 w 338"/>
              <a:gd name="T115" fmla="*/ 25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8" h="362">
                <a:moveTo>
                  <a:pt x="105" y="86"/>
                </a:moveTo>
                <a:cubicBezTo>
                  <a:pt x="109" y="86"/>
                  <a:pt x="109" y="86"/>
                  <a:pt x="109" y="8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09" y="31"/>
                  <a:pt x="107" y="28"/>
                  <a:pt x="105" y="25"/>
                </a:cubicBezTo>
                <a:cubicBezTo>
                  <a:pt x="103" y="23"/>
                  <a:pt x="99" y="21"/>
                  <a:pt x="95" y="21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5"/>
                  <a:pt x="65" y="27"/>
                  <a:pt x="63" y="30"/>
                </a:cubicBezTo>
                <a:cubicBezTo>
                  <a:pt x="63" y="30"/>
                  <a:pt x="63" y="30"/>
                  <a:pt x="63" y="30"/>
                </a:cubicBezTo>
                <a:cubicBezTo>
                  <a:pt x="59" y="33"/>
                  <a:pt x="55" y="35"/>
                  <a:pt x="50" y="35"/>
                </a:cubicBezTo>
                <a:cubicBezTo>
                  <a:pt x="45" y="35"/>
                  <a:pt x="41" y="33"/>
                  <a:pt x="38" y="30"/>
                </a:cubicBezTo>
                <a:cubicBezTo>
                  <a:pt x="38" y="30"/>
                  <a:pt x="38" y="30"/>
                  <a:pt x="38" y="30"/>
                </a:cubicBezTo>
                <a:cubicBezTo>
                  <a:pt x="35" y="27"/>
                  <a:pt x="33" y="22"/>
                  <a:pt x="33" y="17"/>
                </a:cubicBezTo>
                <a:cubicBezTo>
                  <a:pt x="33" y="13"/>
                  <a:pt x="35" y="8"/>
                  <a:pt x="38" y="5"/>
                </a:cubicBezTo>
                <a:cubicBezTo>
                  <a:pt x="38" y="5"/>
                  <a:pt x="38" y="5"/>
                  <a:pt x="38" y="5"/>
                </a:cubicBezTo>
                <a:cubicBezTo>
                  <a:pt x="41" y="2"/>
                  <a:pt x="45" y="0"/>
                  <a:pt x="50" y="0"/>
                </a:cubicBezTo>
                <a:cubicBezTo>
                  <a:pt x="55" y="0"/>
                  <a:pt x="59" y="2"/>
                  <a:pt x="63" y="5"/>
                </a:cubicBezTo>
                <a:cubicBezTo>
                  <a:pt x="64" y="7"/>
                  <a:pt x="66" y="9"/>
                  <a:pt x="67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102" y="11"/>
                  <a:pt x="108" y="14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6" y="23"/>
                  <a:pt x="119" y="28"/>
                  <a:pt x="119" y="35"/>
                </a:cubicBezTo>
                <a:cubicBezTo>
                  <a:pt x="119" y="86"/>
                  <a:pt x="119" y="86"/>
                  <a:pt x="119" y="86"/>
                </a:cubicBezTo>
                <a:cubicBezTo>
                  <a:pt x="164" y="86"/>
                  <a:pt x="164" y="86"/>
                  <a:pt x="164" y="86"/>
                </a:cubicBezTo>
                <a:cubicBezTo>
                  <a:pt x="164" y="34"/>
                  <a:pt x="164" y="34"/>
                  <a:pt x="164" y="34"/>
                </a:cubicBezTo>
                <a:cubicBezTo>
                  <a:pt x="161" y="33"/>
                  <a:pt x="158" y="32"/>
                  <a:pt x="156" y="30"/>
                </a:cubicBezTo>
                <a:cubicBezTo>
                  <a:pt x="156" y="30"/>
                  <a:pt x="156" y="30"/>
                  <a:pt x="156" y="30"/>
                </a:cubicBezTo>
                <a:cubicBezTo>
                  <a:pt x="153" y="27"/>
                  <a:pt x="151" y="22"/>
                  <a:pt x="151" y="17"/>
                </a:cubicBezTo>
                <a:cubicBezTo>
                  <a:pt x="151" y="13"/>
                  <a:pt x="153" y="8"/>
                  <a:pt x="156" y="5"/>
                </a:cubicBezTo>
                <a:cubicBezTo>
                  <a:pt x="160" y="2"/>
                  <a:pt x="164" y="0"/>
                  <a:pt x="169" y="0"/>
                </a:cubicBezTo>
                <a:cubicBezTo>
                  <a:pt x="174" y="0"/>
                  <a:pt x="178" y="2"/>
                  <a:pt x="181" y="5"/>
                </a:cubicBezTo>
                <a:cubicBezTo>
                  <a:pt x="184" y="8"/>
                  <a:pt x="186" y="13"/>
                  <a:pt x="186" y="17"/>
                </a:cubicBezTo>
                <a:cubicBezTo>
                  <a:pt x="186" y="22"/>
                  <a:pt x="184" y="27"/>
                  <a:pt x="181" y="30"/>
                </a:cubicBezTo>
                <a:cubicBezTo>
                  <a:pt x="181" y="30"/>
                  <a:pt x="181" y="30"/>
                  <a:pt x="181" y="30"/>
                </a:cubicBezTo>
                <a:cubicBezTo>
                  <a:pt x="179" y="32"/>
                  <a:pt x="177" y="33"/>
                  <a:pt x="174" y="34"/>
                </a:cubicBezTo>
                <a:cubicBezTo>
                  <a:pt x="174" y="86"/>
                  <a:pt x="174" y="86"/>
                  <a:pt x="174" y="86"/>
                </a:cubicBezTo>
                <a:cubicBezTo>
                  <a:pt x="220" y="86"/>
                  <a:pt x="220" y="86"/>
                  <a:pt x="220" y="86"/>
                </a:cubicBezTo>
                <a:cubicBezTo>
                  <a:pt x="220" y="35"/>
                  <a:pt x="220" y="35"/>
                  <a:pt x="220" y="35"/>
                </a:cubicBezTo>
                <a:cubicBezTo>
                  <a:pt x="220" y="28"/>
                  <a:pt x="223" y="23"/>
                  <a:pt x="227" y="18"/>
                </a:cubicBezTo>
                <a:cubicBezTo>
                  <a:pt x="227" y="18"/>
                  <a:pt x="227" y="18"/>
                  <a:pt x="227" y="18"/>
                </a:cubicBezTo>
                <a:cubicBezTo>
                  <a:pt x="231" y="14"/>
                  <a:pt x="237" y="11"/>
                  <a:pt x="244" y="11"/>
                </a:cubicBezTo>
                <a:cubicBezTo>
                  <a:pt x="272" y="11"/>
                  <a:pt x="272" y="11"/>
                  <a:pt x="272" y="11"/>
                </a:cubicBezTo>
                <a:cubicBezTo>
                  <a:pt x="273" y="9"/>
                  <a:pt x="275" y="7"/>
                  <a:pt x="276" y="5"/>
                </a:cubicBezTo>
                <a:cubicBezTo>
                  <a:pt x="277" y="5"/>
                  <a:pt x="277" y="5"/>
                  <a:pt x="277" y="5"/>
                </a:cubicBezTo>
                <a:cubicBezTo>
                  <a:pt x="280" y="2"/>
                  <a:pt x="284" y="0"/>
                  <a:pt x="289" y="0"/>
                </a:cubicBezTo>
                <a:cubicBezTo>
                  <a:pt x="294" y="0"/>
                  <a:pt x="298" y="2"/>
                  <a:pt x="301" y="5"/>
                </a:cubicBezTo>
                <a:cubicBezTo>
                  <a:pt x="304" y="8"/>
                  <a:pt x="306" y="13"/>
                  <a:pt x="306" y="17"/>
                </a:cubicBezTo>
                <a:cubicBezTo>
                  <a:pt x="306" y="22"/>
                  <a:pt x="304" y="27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298" y="33"/>
                  <a:pt x="294" y="35"/>
                  <a:pt x="289" y="35"/>
                </a:cubicBezTo>
                <a:cubicBezTo>
                  <a:pt x="284" y="35"/>
                  <a:pt x="280" y="33"/>
                  <a:pt x="276" y="30"/>
                </a:cubicBezTo>
                <a:cubicBezTo>
                  <a:pt x="274" y="27"/>
                  <a:pt x="273" y="25"/>
                  <a:pt x="272" y="21"/>
                </a:cubicBezTo>
                <a:cubicBezTo>
                  <a:pt x="244" y="21"/>
                  <a:pt x="244" y="21"/>
                  <a:pt x="244" y="21"/>
                </a:cubicBezTo>
                <a:cubicBezTo>
                  <a:pt x="240" y="21"/>
                  <a:pt x="237" y="23"/>
                  <a:pt x="234" y="25"/>
                </a:cubicBezTo>
                <a:cubicBezTo>
                  <a:pt x="232" y="28"/>
                  <a:pt x="230" y="31"/>
                  <a:pt x="230" y="35"/>
                </a:cubicBezTo>
                <a:cubicBezTo>
                  <a:pt x="230" y="86"/>
                  <a:pt x="230" y="86"/>
                  <a:pt x="230" y="86"/>
                </a:cubicBezTo>
                <a:cubicBezTo>
                  <a:pt x="233" y="86"/>
                  <a:pt x="233" y="86"/>
                  <a:pt x="233" y="86"/>
                </a:cubicBezTo>
                <a:cubicBezTo>
                  <a:pt x="242" y="86"/>
                  <a:pt x="250" y="90"/>
                  <a:pt x="256" y="96"/>
                </a:cubicBezTo>
                <a:cubicBezTo>
                  <a:pt x="262" y="101"/>
                  <a:pt x="266" y="110"/>
                  <a:pt x="266" y="119"/>
                </a:cubicBezTo>
                <a:cubicBezTo>
                  <a:pt x="303" y="119"/>
                  <a:pt x="303" y="119"/>
                  <a:pt x="303" y="119"/>
                </a:cubicBezTo>
                <a:cubicBezTo>
                  <a:pt x="304" y="116"/>
                  <a:pt x="306" y="113"/>
                  <a:pt x="308" y="111"/>
                </a:cubicBezTo>
                <a:cubicBezTo>
                  <a:pt x="311" y="108"/>
                  <a:pt x="315" y="106"/>
                  <a:pt x="320" y="106"/>
                </a:cubicBezTo>
                <a:cubicBezTo>
                  <a:pt x="325" y="106"/>
                  <a:pt x="330" y="108"/>
                  <a:pt x="333" y="111"/>
                </a:cubicBezTo>
                <a:cubicBezTo>
                  <a:pt x="336" y="114"/>
                  <a:pt x="338" y="119"/>
                  <a:pt x="338" y="124"/>
                </a:cubicBezTo>
                <a:cubicBezTo>
                  <a:pt x="338" y="128"/>
                  <a:pt x="336" y="133"/>
                  <a:pt x="333" y="136"/>
                </a:cubicBezTo>
                <a:cubicBezTo>
                  <a:pt x="333" y="136"/>
                  <a:pt x="333" y="136"/>
                  <a:pt x="333" y="136"/>
                </a:cubicBezTo>
                <a:cubicBezTo>
                  <a:pt x="330" y="139"/>
                  <a:pt x="325" y="141"/>
                  <a:pt x="320" y="141"/>
                </a:cubicBezTo>
                <a:cubicBezTo>
                  <a:pt x="315" y="141"/>
                  <a:pt x="311" y="139"/>
                  <a:pt x="308" y="136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6" y="134"/>
                  <a:pt x="304" y="131"/>
                  <a:pt x="304" y="129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79"/>
                  <a:pt x="266" y="179"/>
                  <a:pt x="266" y="179"/>
                </a:cubicBezTo>
                <a:cubicBezTo>
                  <a:pt x="303" y="179"/>
                  <a:pt x="303" y="179"/>
                  <a:pt x="303" y="179"/>
                </a:cubicBezTo>
                <a:cubicBezTo>
                  <a:pt x="304" y="176"/>
                  <a:pt x="306" y="173"/>
                  <a:pt x="308" y="171"/>
                </a:cubicBezTo>
                <a:cubicBezTo>
                  <a:pt x="311" y="168"/>
                  <a:pt x="315" y="166"/>
                  <a:pt x="320" y="166"/>
                </a:cubicBezTo>
                <a:cubicBezTo>
                  <a:pt x="325" y="166"/>
                  <a:pt x="330" y="168"/>
                  <a:pt x="333" y="171"/>
                </a:cubicBezTo>
                <a:cubicBezTo>
                  <a:pt x="336" y="174"/>
                  <a:pt x="338" y="179"/>
                  <a:pt x="338" y="183"/>
                </a:cubicBezTo>
                <a:cubicBezTo>
                  <a:pt x="338" y="188"/>
                  <a:pt x="336" y="193"/>
                  <a:pt x="333" y="196"/>
                </a:cubicBezTo>
                <a:cubicBezTo>
                  <a:pt x="330" y="199"/>
                  <a:pt x="325" y="201"/>
                  <a:pt x="320" y="201"/>
                </a:cubicBezTo>
                <a:cubicBezTo>
                  <a:pt x="315" y="201"/>
                  <a:pt x="311" y="199"/>
                  <a:pt x="308" y="196"/>
                </a:cubicBezTo>
                <a:cubicBezTo>
                  <a:pt x="306" y="194"/>
                  <a:pt x="304" y="191"/>
                  <a:pt x="303" y="188"/>
                </a:cubicBezTo>
                <a:cubicBezTo>
                  <a:pt x="266" y="188"/>
                  <a:pt x="266" y="188"/>
                  <a:pt x="266" y="188"/>
                </a:cubicBezTo>
                <a:cubicBezTo>
                  <a:pt x="266" y="238"/>
                  <a:pt x="266" y="238"/>
                  <a:pt x="266" y="238"/>
                </a:cubicBezTo>
                <a:cubicBezTo>
                  <a:pt x="304" y="238"/>
                  <a:pt x="304" y="238"/>
                  <a:pt x="304" y="238"/>
                </a:cubicBezTo>
                <a:cubicBezTo>
                  <a:pt x="304" y="235"/>
                  <a:pt x="306" y="233"/>
                  <a:pt x="308" y="231"/>
                </a:cubicBezTo>
                <a:cubicBezTo>
                  <a:pt x="308" y="231"/>
                  <a:pt x="308" y="231"/>
                  <a:pt x="308" y="231"/>
                </a:cubicBezTo>
                <a:cubicBezTo>
                  <a:pt x="311" y="228"/>
                  <a:pt x="315" y="226"/>
                  <a:pt x="320" y="226"/>
                </a:cubicBezTo>
                <a:cubicBezTo>
                  <a:pt x="325" y="226"/>
                  <a:pt x="330" y="228"/>
                  <a:pt x="333" y="231"/>
                </a:cubicBezTo>
                <a:cubicBezTo>
                  <a:pt x="333" y="231"/>
                  <a:pt x="333" y="231"/>
                  <a:pt x="333" y="231"/>
                </a:cubicBezTo>
                <a:cubicBezTo>
                  <a:pt x="336" y="234"/>
                  <a:pt x="338" y="238"/>
                  <a:pt x="338" y="243"/>
                </a:cubicBezTo>
                <a:cubicBezTo>
                  <a:pt x="338" y="248"/>
                  <a:pt x="336" y="253"/>
                  <a:pt x="333" y="256"/>
                </a:cubicBezTo>
                <a:cubicBezTo>
                  <a:pt x="330" y="259"/>
                  <a:pt x="325" y="261"/>
                  <a:pt x="320" y="261"/>
                </a:cubicBezTo>
                <a:cubicBezTo>
                  <a:pt x="315" y="261"/>
                  <a:pt x="311" y="259"/>
                  <a:pt x="308" y="256"/>
                </a:cubicBezTo>
                <a:cubicBezTo>
                  <a:pt x="306" y="254"/>
                  <a:pt x="304" y="251"/>
                  <a:pt x="303" y="248"/>
                </a:cubicBezTo>
                <a:cubicBezTo>
                  <a:pt x="266" y="248"/>
                  <a:pt x="266" y="248"/>
                  <a:pt x="266" y="248"/>
                </a:cubicBezTo>
                <a:cubicBezTo>
                  <a:pt x="265" y="257"/>
                  <a:pt x="262" y="264"/>
                  <a:pt x="256" y="270"/>
                </a:cubicBezTo>
                <a:cubicBezTo>
                  <a:pt x="256" y="270"/>
                  <a:pt x="256" y="270"/>
                  <a:pt x="256" y="270"/>
                </a:cubicBezTo>
                <a:cubicBezTo>
                  <a:pt x="250" y="276"/>
                  <a:pt x="242" y="279"/>
                  <a:pt x="234" y="280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236" y="329"/>
                  <a:pt x="239" y="330"/>
                  <a:pt x="241" y="333"/>
                </a:cubicBezTo>
                <a:cubicBezTo>
                  <a:pt x="241" y="333"/>
                  <a:pt x="241" y="333"/>
                  <a:pt x="241" y="333"/>
                </a:cubicBezTo>
                <a:cubicBezTo>
                  <a:pt x="244" y="336"/>
                  <a:pt x="246" y="340"/>
                  <a:pt x="246" y="345"/>
                </a:cubicBezTo>
                <a:cubicBezTo>
                  <a:pt x="246" y="350"/>
                  <a:pt x="244" y="354"/>
                  <a:pt x="241" y="357"/>
                </a:cubicBezTo>
                <a:cubicBezTo>
                  <a:pt x="241" y="357"/>
                  <a:pt x="241" y="357"/>
                  <a:pt x="241" y="357"/>
                </a:cubicBezTo>
                <a:cubicBezTo>
                  <a:pt x="238" y="360"/>
                  <a:pt x="233" y="362"/>
                  <a:pt x="229" y="362"/>
                </a:cubicBezTo>
                <a:cubicBezTo>
                  <a:pt x="224" y="362"/>
                  <a:pt x="219" y="360"/>
                  <a:pt x="216" y="357"/>
                </a:cubicBezTo>
                <a:cubicBezTo>
                  <a:pt x="213" y="354"/>
                  <a:pt x="211" y="350"/>
                  <a:pt x="211" y="345"/>
                </a:cubicBezTo>
                <a:cubicBezTo>
                  <a:pt x="211" y="340"/>
                  <a:pt x="213" y="336"/>
                  <a:pt x="216" y="333"/>
                </a:cubicBezTo>
                <a:cubicBezTo>
                  <a:pt x="216" y="333"/>
                  <a:pt x="216" y="333"/>
                  <a:pt x="216" y="333"/>
                </a:cubicBezTo>
                <a:cubicBezTo>
                  <a:pt x="218" y="330"/>
                  <a:pt x="221" y="329"/>
                  <a:pt x="224" y="328"/>
                </a:cubicBezTo>
                <a:cubicBezTo>
                  <a:pt x="224" y="280"/>
                  <a:pt x="224" y="280"/>
                  <a:pt x="224" y="280"/>
                </a:cubicBezTo>
                <a:cubicBezTo>
                  <a:pt x="174" y="280"/>
                  <a:pt x="174" y="280"/>
                  <a:pt x="174" y="280"/>
                </a:cubicBezTo>
                <a:cubicBezTo>
                  <a:pt x="174" y="328"/>
                  <a:pt x="174" y="328"/>
                  <a:pt x="174" y="328"/>
                </a:cubicBezTo>
                <a:cubicBezTo>
                  <a:pt x="177" y="329"/>
                  <a:pt x="179" y="330"/>
                  <a:pt x="181" y="333"/>
                </a:cubicBezTo>
                <a:cubicBezTo>
                  <a:pt x="181" y="333"/>
                  <a:pt x="181" y="333"/>
                  <a:pt x="181" y="333"/>
                </a:cubicBezTo>
                <a:cubicBezTo>
                  <a:pt x="184" y="336"/>
                  <a:pt x="186" y="340"/>
                  <a:pt x="186" y="345"/>
                </a:cubicBezTo>
                <a:cubicBezTo>
                  <a:pt x="186" y="350"/>
                  <a:pt x="184" y="354"/>
                  <a:pt x="181" y="357"/>
                </a:cubicBezTo>
                <a:cubicBezTo>
                  <a:pt x="178" y="360"/>
                  <a:pt x="174" y="362"/>
                  <a:pt x="169" y="362"/>
                </a:cubicBezTo>
                <a:cubicBezTo>
                  <a:pt x="164" y="362"/>
                  <a:pt x="160" y="360"/>
                  <a:pt x="156" y="357"/>
                </a:cubicBezTo>
                <a:cubicBezTo>
                  <a:pt x="153" y="354"/>
                  <a:pt x="151" y="350"/>
                  <a:pt x="151" y="345"/>
                </a:cubicBezTo>
                <a:cubicBezTo>
                  <a:pt x="151" y="340"/>
                  <a:pt x="153" y="336"/>
                  <a:pt x="156" y="333"/>
                </a:cubicBezTo>
                <a:cubicBezTo>
                  <a:pt x="156" y="333"/>
                  <a:pt x="156" y="333"/>
                  <a:pt x="156" y="333"/>
                </a:cubicBezTo>
                <a:cubicBezTo>
                  <a:pt x="158" y="330"/>
                  <a:pt x="161" y="329"/>
                  <a:pt x="164" y="328"/>
                </a:cubicBezTo>
                <a:cubicBezTo>
                  <a:pt x="164" y="280"/>
                  <a:pt x="164" y="280"/>
                  <a:pt x="164" y="280"/>
                </a:cubicBezTo>
                <a:cubicBezTo>
                  <a:pt x="114" y="280"/>
                  <a:pt x="114" y="280"/>
                  <a:pt x="114" y="280"/>
                </a:cubicBezTo>
                <a:cubicBezTo>
                  <a:pt x="114" y="328"/>
                  <a:pt x="114" y="328"/>
                  <a:pt x="114" y="328"/>
                </a:cubicBezTo>
                <a:cubicBezTo>
                  <a:pt x="117" y="329"/>
                  <a:pt x="119" y="330"/>
                  <a:pt x="121" y="333"/>
                </a:cubicBezTo>
                <a:cubicBezTo>
                  <a:pt x="121" y="333"/>
                  <a:pt x="121" y="333"/>
                  <a:pt x="121" y="333"/>
                </a:cubicBezTo>
                <a:cubicBezTo>
                  <a:pt x="125" y="336"/>
                  <a:pt x="127" y="340"/>
                  <a:pt x="127" y="345"/>
                </a:cubicBezTo>
                <a:cubicBezTo>
                  <a:pt x="127" y="350"/>
                  <a:pt x="125" y="354"/>
                  <a:pt x="121" y="357"/>
                </a:cubicBezTo>
                <a:cubicBezTo>
                  <a:pt x="118" y="360"/>
                  <a:pt x="114" y="362"/>
                  <a:pt x="109" y="362"/>
                </a:cubicBezTo>
                <a:cubicBezTo>
                  <a:pt x="104" y="362"/>
                  <a:pt x="100" y="360"/>
                  <a:pt x="97" y="357"/>
                </a:cubicBezTo>
                <a:cubicBezTo>
                  <a:pt x="97" y="357"/>
                  <a:pt x="97" y="357"/>
                  <a:pt x="97" y="357"/>
                </a:cubicBezTo>
                <a:cubicBezTo>
                  <a:pt x="93" y="354"/>
                  <a:pt x="91" y="350"/>
                  <a:pt x="91" y="345"/>
                </a:cubicBezTo>
                <a:cubicBezTo>
                  <a:pt x="91" y="340"/>
                  <a:pt x="93" y="336"/>
                  <a:pt x="97" y="333"/>
                </a:cubicBezTo>
                <a:cubicBezTo>
                  <a:pt x="97" y="333"/>
                  <a:pt x="97" y="333"/>
                  <a:pt x="97" y="333"/>
                </a:cubicBezTo>
                <a:cubicBezTo>
                  <a:pt x="99" y="330"/>
                  <a:pt x="101" y="329"/>
                  <a:pt x="104" y="328"/>
                </a:cubicBezTo>
                <a:cubicBezTo>
                  <a:pt x="104" y="280"/>
                  <a:pt x="104" y="280"/>
                  <a:pt x="104" y="280"/>
                </a:cubicBezTo>
                <a:cubicBezTo>
                  <a:pt x="95" y="279"/>
                  <a:pt x="87" y="276"/>
                  <a:pt x="82" y="27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76" y="264"/>
                  <a:pt x="72" y="257"/>
                  <a:pt x="72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33" y="251"/>
                  <a:pt x="32" y="254"/>
                  <a:pt x="30" y="256"/>
                </a:cubicBezTo>
                <a:cubicBezTo>
                  <a:pt x="30" y="256"/>
                  <a:pt x="30" y="256"/>
                  <a:pt x="30" y="256"/>
                </a:cubicBezTo>
                <a:cubicBezTo>
                  <a:pt x="27" y="259"/>
                  <a:pt x="22" y="261"/>
                  <a:pt x="17" y="261"/>
                </a:cubicBezTo>
                <a:cubicBezTo>
                  <a:pt x="13" y="261"/>
                  <a:pt x="8" y="259"/>
                  <a:pt x="5" y="256"/>
                </a:cubicBezTo>
                <a:cubicBezTo>
                  <a:pt x="2" y="253"/>
                  <a:pt x="0" y="248"/>
                  <a:pt x="0" y="243"/>
                </a:cubicBezTo>
                <a:cubicBezTo>
                  <a:pt x="0" y="238"/>
                  <a:pt x="2" y="234"/>
                  <a:pt x="5" y="231"/>
                </a:cubicBezTo>
                <a:cubicBezTo>
                  <a:pt x="5" y="231"/>
                  <a:pt x="5" y="231"/>
                  <a:pt x="5" y="231"/>
                </a:cubicBezTo>
                <a:cubicBezTo>
                  <a:pt x="8" y="228"/>
                  <a:pt x="13" y="226"/>
                  <a:pt x="17" y="226"/>
                </a:cubicBezTo>
                <a:cubicBezTo>
                  <a:pt x="22" y="226"/>
                  <a:pt x="27" y="228"/>
                  <a:pt x="30" y="231"/>
                </a:cubicBezTo>
                <a:cubicBezTo>
                  <a:pt x="30" y="231"/>
                  <a:pt x="30" y="231"/>
                  <a:pt x="30" y="231"/>
                </a:cubicBezTo>
                <a:cubicBezTo>
                  <a:pt x="32" y="233"/>
                  <a:pt x="33" y="235"/>
                  <a:pt x="34" y="238"/>
                </a:cubicBezTo>
                <a:cubicBezTo>
                  <a:pt x="72" y="238"/>
                  <a:pt x="72" y="238"/>
                  <a:pt x="72" y="238"/>
                </a:cubicBezTo>
                <a:cubicBezTo>
                  <a:pt x="72" y="188"/>
                  <a:pt x="72" y="188"/>
                  <a:pt x="72" y="188"/>
                </a:cubicBezTo>
                <a:cubicBezTo>
                  <a:pt x="34" y="188"/>
                  <a:pt x="34" y="188"/>
                  <a:pt x="34" y="188"/>
                </a:cubicBezTo>
                <a:cubicBezTo>
                  <a:pt x="33" y="191"/>
                  <a:pt x="32" y="194"/>
                  <a:pt x="30" y="196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27" y="199"/>
                  <a:pt x="22" y="201"/>
                  <a:pt x="17" y="201"/>
                </a:cubicBezTo>
                <a:cubicBezTo>
                  <a:pt x="13" y="201"/>
                  <a:pt x="8" y="199"/>
                  <a:pt x="5" y="196"/>
                </a:cubicBezTo>
                <a:cubicBezTo>
                  <a:pt x="2" y="193"/>
                  <a:pt x="0" y="188"/>
                  <a:pt x="0" y="183"/>
                </a:cubicBezTo>
                <a:cubicBezTo>
                  <a:pt x="0" y="179"/>
                  <a:pt x="2" y="174"/>
                  <a:pt x="5" y="171"/>
                </a:cubicBezTo>
                <a:cubicBezTo>
                  <a:pt x="8" y="168"/>
                  <a:pt x="13" y="166"/>
                  <a:pt x="17" y="166"/>
                </a:cubicBezTo>
                <a:cubicBezTo>
                  <a:pt x="22" y="166"/>
                  <a:pt x="27" y="168"/>
                  <a:pt x="30" y="171"/>
                </a:cubicBezTo>
                <a:cubicBezTo>
                  <a:pt x="30" y="171"/>
                  <a:pt x="30" y="171"/>
                  <a:pt x="30" y="171"/>
                </a:cubicBezTo>
                <a:cubicBezTo>
                  <a:pt x="32" y="173"/>
                  <a:pt x="33" y="176"/>
                  <a:pt x="34" y="179"/>
                </a:cubicBezTo>
                <a:cubicBezTo>
                  <a:pt x="72" y="179"/>
                  <a:pt x="72" y="179"/>
                  <a:pt x="72" y="17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34" y="129"/>
                  <a:pt x="34" y="129"/>
                  <a:pt x="34" y="129"/>
                </a:cubicBezTo>
                <a:cubicBezTo>
                  <a:pt x="33" y="131"/>
                  <a:pt x="32" y="134"/>
                  <a:pt x="30" y="136"/>
                </a:cubicBezTo>
                <a:cubicBezTo>
                  <a:pt x="27" y="139"/>
                  <a:pt x="22" y="141"/>
                  <a:pt x="17" y="141"/>
                </a:cubicBezTo>
                <a:cubicBezTo>
                  <a:pt x="13" y="141"/>
                  <a:pt x="8" y="139"/>
                  <a:pt x="5" y="136"/>
                </a:cubicBezTo>
                <a:cubicBezTo>
                  <a:pt x="5" y="136"/>
                  <a:pt x="5" y="136"/>
                  <a:pt x="5" y="136"/>
                </a:cubicBezTo>
                <a:cubicBezTo>
                  <a:pt x="2" y="133"/>
                  <a:pt x="0" y="128"/>
                  <a:pt x="0" y="124"/>
                </a:cubicBezTo>
                <a:cubicBezTo>
                  <a:pt x="0" y="119"/>
                  <a:pt x="2" y="114"/>
                  <a:pt x="5" y="111"/>
                </a:cubicBezTo>
                <a:cubicBezTo>
                  <a:pt x="8" y="108"/>
                  <a:pt x="13" y="106"/>
                  <a:pt x="17" y="106"/>
                </a:cubicBezTo>
                <a:cubicBezTo>
                  <a:pt x="22" y="106"/>
                  <a:pt x="27" y="108"/>
                  <a:pt x="30" y="111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2" y="113"/>
                  <a:pt x="33" y="116"/>
                  <a:pt x="34" y="119"/>
                </a:cubicBezTo>
                <a:cubicBezTo>
                  <a:pt x="72" y="119"/>
                  <a:pt x="72" y="119"/>
                  <a:pt x="72" y="119"/>
                </a:cubicBezTo>
                <a:cubicBezTo>
                  <a:pt x="72" y="110"/>
                  <a:pt x="76" y="101"/>
                  <a:pt x="82" y="96"/>
                </a:cubicBezTo>
                <a:cubicBezTo>
                  <a:pt x="88" y="90"/>
                  <a:pt x="96" y="86"/>
                  <a:pt x="105" y="86"/>
                </a:cubicBezTo>
                <a:close/>
                <a:moveTo>
                  <a:pt x="12" y="118"/>
                </a:moveTo>
                <a:cubicBezTo>
                  <a:pt x="11" y="120"/>
                  <a:pt x="10" y="122"/>
                  <a:pt x="10" y="124"/>
                </a:cubicBezTo>
                <a:cubicBezTo>
                  <a:pt x="10" y="126"/>
                  <a:pt x="11" y="128"/>
                  <a:pt x="12" y="129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3" y="130"/>
                  <a:pt x="15" y="131"/>
                  <a:pt x="17" y="131"/>
                </a:cubicBezTo>
                <a:cubicBezTo>
                  <a:pt x="19" y="131"/>
                  <a:pt x="21" y="130"/>
                  <a:pt x="23" y="129"/>
                </a:cubicBezTo>
                <a:cubicBezTo>
                  <a:pt x="24" y="128"/>
                  <a:pt x="25" y="126"/>
                  <a:pt x="25" y="124"/>
                </a:cubicBezTo>
                <a:cubicBezTo>
                  <a:pt x="25" y="122"/>
                  <a:pt x="24" y="120"/>
                  <a:pt x="23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1" y="117"/>
                  <a:pt x="19" y="116"/>
                  <a:pt x="17" y="116"/>
                </a:cubicBezTo>
                <a:cubicBezTo>
                  <a:pt x="15" y="116"/>
                  <a:pt x="13" y="117"/>
                  <a:pt x="12" y="118"/>
                </a:cubicBezTo>
                <a:close/>
                <a:moveTo>
                  <a:pt x="12" y="238"/>
                </a:moveTo>
                <a:cubicBezTo>
                  <a:pt x="11" y="239"/>
                  <a:pt x="10" y="241"/>
                  <a:pt x="10" y="243"/>
                </a:cubicBezTo>
                <a:cubicBezTo>
                  <a:pt x="10" y="245"/>
                  <a:pt x="11" y="247"/>
                  <a:pt x="12" y="249"/>
                </a:cubicBezTo>
                <a:cubicBezTo>
                  <a:pt x="13" y="250"/>
                  <a:pt x="15" y="251"/>
                  <a:pt x="17" y="251"/>
                </a:cubicBezTo>
                <a:cubicBezTo>
                  <a:pt x="19" y="251"/>
                  <a:pt x="21" y="250"/>
                  <a:pt x="23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4" y="247"/>
                  <a:pt x="25" y="245"/>
                  <a:pt x="25" y="243"/>
                </a:cubicBezTo>
                <a:cubicBezTo>
                  <a:pt x="25" y="241"/>
                  <a:pt x="24" y="239"/>
                  <a:pt x="23" y="238"/>
                </a:cubicBezTo>
                <a:cubicBezTo>
                  <a:pt x="23" y="238"/>
                  <a:pt x="23" y="238"/>
                  <a:pt x="23" y="238"/>
                </a:cubicBezTo>
                <a:cubicBezTo>
                  <a:pt x="21" y="237"/>
                  <a:pt x="19" y="236"/>
                  <a:pt x="17" y="236"/>
                </a:cubicBezTo>
                <a:cubicBezTo>
                  <a:pt x="15" y="236"/>
                  <a:pt x="13" y="237"/>
                  <a:pt x="12" y="238"/>
                </a:cubicBezTo>
                <a:cubicBezTo>
                  <a:pt x="12" y="238"/>
                  <a:pt x="12" y="238"/>
                  <a:pt x="12" y="238"/>
                </a:cubicBezTo>
                <a:close/>
                <a:moveTo>
                  <a:pt x="12" y="178"/>
                </a:moveTo>
                <a:cubicBezTo>
                  <a:pt x="11" y="179"/>
                  <a:pt x="10" y="181"/>
                  <a:pt x="10" y="183"/>
                </a:cubicBezTo>
                <a:cubicBezTo>
                  <a:pt x="10" y="186"/>
                  <a:pt x="11" y="187"/>
                  <a:pt x="12" y="189"/>
                </a:cubicBezTo>
                <a:cubicBezTo>
                  <a:pt x="13" y="190"/>
                  <a:pt x="15" y="191"/>
                  <a:pt x="17" y="191"/>
                </a:cubicBezTo>
                <a:cubicBezTo>
                  <a:pt x="19" y="191"/>
                  <a:pt x="21" y="190"/>
                  <a:pt x="23" y="189"/>
                </a:cubicBezTo>
                <a:cubicBezTo>
                  <a:pt x="23" y="189"/>
                  <a:pt x="23" y="189"/>
                  <a:pt x="23" y="189"/>
                </a:cubicBezTo>
                <a:cubicBezTo>
                  <a:pt x="24" y="187"/>
                  <a:pt x="25" y="186"/>
                  <a:pt x="25" y="183"/>
                </a:cubicBezTo>
                <a:cubicBezTo>
                  <a:pt x="25" y="181"/>
                  <a:pt x="24" y="179"/>
                  <a:pt x="23" y="178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1" y="177"/>
                  <a:pt x="19" y="176"/>
                  <a:pt x="17" y="176"/>
                </a:cubicBezTo>
                <a:cubicBezTo>
                  <a:pt x="15" y="176"/>
                  <a:pt x="13" y="177"/>
                  <a:pt x="12" y="178"/>
                </a:cubicBezTo>
                <a:close/>
                <a:moveTo>
                  <a:pt x="229" y="352"/>
                </a:moveTo>
                <a:cubicBezTo>
                  <a:pt x="231" y="352"/>
                  <a:pt x="233" y="352"/>
                  <a:pt x="234" y="350"/>
                </a:cubicBezTo>
                <a:cubicBezTo>
                  <a:pt x="234" y="350"/>
                  <a:pt x="234" y="350"/>
                  <a:pt x="234" y="350"/>
                </a:cubicBezTo>
                <a:cubicBezTo>
                  <a:pt x="235" y="349"/>
                  <a:pt x="236" y="347"/>
                  <a:pt x="236" y="345"/>
                </a:cubicBezTo>
                <a:cubicBezTo>
                  <a:pt x="236" y="343"/>
                  <a:pt x="235" y="341"/>
                  <a:pt x="234" y="340"/>
                </a:cubicBezTo>
                <a:cubicBezTo>
                  <a:pt x="234" y="340"/>
                  <a:pt x="234" y="340"/>
                  <a:pt x="234" y="340"/>
                </a:cubicBezTo>
                <a:cubicBezTo>
                  <a:pt x="233" y="338"/>
                  <a:pt x="231" y="337"/>
                  <a:pt x="229" y="337"/>
                </a:cubicBezTo>
                <a:cubicBezTo>
                  <a:pt x="227" y="337"/>
                  <a:pt x="225" y="338"/>
                  <a:pt x="223" y="340"/>
                </a:cubicBezTo>
                <a:cubicBezTo>
                  <a:pt x="223" y="340"/>
                  <a:pt x="223" y="340"/>
                  <a:pt x="223" y="340"/>
                </a:cubicBezTo>
                <a:cubicBezTo>
                  <a:pt x="222" y="341"/>
                  <a:pt x="221" y="343"/>
                  <a:pt x="221" y="345"/>
                </a:cubicBezTo>
                <a:cubicBezTo>
                  <a:pt x="221" y="347"/>
                  <a:pt x="222" y="349"/>
                  <a:pt x="223" y="350"/>
                </a:cubicBezTo>
                <a:cubicBezTo>
                  <a:pt x="225" y="352"/>
                  <a:pt x="227" y="352"/>
                  <a:pt x="229" y="352"/>
                </a:cubicBezTo>
                <a:close/>
                <a:moveTo>
                  <a:pt x="109" y="352"/>
                </a:moveTo>
                <a:cubicBezTo>
                  <a:pt x="111" y="352"/>
                  <a:pt x="113" y="352"/>
                  <a:pt x="114" y="350"/>
                </a:cubicBezTo>
                <a:cubicBezTo>
                  <a:pt x="116" y="349"/>
                  <a:pt x="117" y="347"/>
                  <a:pt x="117" y="345"/>
                </a:cubicBezTo>
                <a:cubicBezTo>
                  <a:pt x="117" y="343"/>
                  <a:pt x="116" y="341"/>
                  <a:pt x="114" y="340"/>
                </a:cubicBezTo>
                <a:cubicBezTo>
                  <a:pt x="114" y="340"/>
                  <a:pt x="114" y="340"/>
                  <a:pt x="114" y="340"/>
                </a:cubicBezTo>
                <a:cubicBezTo>
                  <a:pt x="113" y="338"/>
                  <a:pt x="111" y="337"/>
                  <a:pt x="109" y="337"/>
                </a:cubicBezTo>
                <a:cubicBezTo>
                  <a:pt x="107" y="337"/>
                  <a:pt x="105" y="338"/>
                  <a:pt x="104" y="340"/>
                </a:cubicBezTo>
                <a:cubicBezTo>
                  <a:pt x="104" y="340"/>
                  <a:pt x="104" y="340"/>
                  <a:pt x="104" y="340"/>
                </a:cubicBezTo>
                <a:cubicBezTo>
                  <a:pt x="102" y="341"/>
                  <a:pt x="101" y="343"/>
                  <a:pt x="101" y="345"/>
                </a:cubicBezTo>
                <a:cubicBezTo>
                  <a:pt x="101" y="347"/>
                  <a:pt x="102" y="349"/>
                  <a:pt x="104" y="350"/>
                </a:cubicBezTo>
                <a:cubicBezTo>
                  <a:pt x="104" y="350"/>
                  <a:pt x="104" y="350"/>
                  <a:pt x="104" y="350"/>
                </a:cubicBezTo>
                <a:cubicBezTo>
                  <a:pt x="105" y="352"/>
                  <a:pt x="107" y="352"/>
                  <a:pt x="109" y="352"/>
                </a:cubicBezTo>
                <a:close/>
                <a:moveTo>
                  <a:pt x="169" y="352"/>
                </a:moveTo>
                <a:cubicBezTo>
                  <a:pt x="171" y="352"/>
                  <a:pt x="173" y="352"/>
                  <a:pt x="174" y="350"/>
                </a:cubicBezTo>
                <a:cubicBezTo>
                  <a:pt x="176" y="349"/>
                  <a:pt x="176" y="347"/>
                  <a:pt x="176" y="345"/>
                </a:cubicBezTo>
                <a:cubicBezTo>
                  <a:pt x="176" y="343"/>
                  <a:pt x="176" y="341"/>
                  <a:pt x="174" y="340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173" y="338"/>
                  <a:pt x="171" y="337"/>
                  <a:pt x="169" y="337"/>
                </a:cubicBezTo>
                <a:cubicBezTo>
                  <a:pt x="167" y="337"/>
                  <a:pt x="165" y="338"/>
                  <a:pt x="163" y="340"/>
                </a:cubicBezTo>
                <a:cubicBezTo>
                  <a:pt x="163" y="340"/>
                  <a:pt x="163" y="340"/>
                  <a:pt x="163" y="340"/>
                </a:cubicBezTo>
                <a:cubicBezTo>
                  <a:pt x="162" y="341"/>
                  <a:pt x="161" y="343"/>
                  <a:pt x="161" y="345"/>
                </a:cubicBezTo>
                <a:cubicBezTo>
                  <a:pt x="161" y="347"/>
                  <a:pt x="162" y="349"/>
                  <a:pt x="163" y="350"/>
                </a:cubicBezTo>
                <a:cubicBezTo>
                  <a:pt x="165" y="352"/>
                  <a:pt x="167" y="352"/>
                  <a:pt x="169" y="352"/>
                </a:cubicBezTo>
                <a:close/>
                <a:moveTo>
                  <a:pt x="328" y="124"/>
                </a:moveTo>
                <a:cubicBezTo>
                  <a:pt x="328" y="122"/>
                  <a:pt x="327" y="120"/>
                  <a:pt x="326" y="118"/>
                </a:cubicBezTo>
                <a:cubicBezTo>
                  <a:pt x="324" y="117"/>
                  <a:pt x="322" y="116"/>
                  <a:pt x="320" y="116"/>
                </a:cubicBezTo>
                <a:cubicBezTo>
                  <a:pt x="318" y="116"/>
                  <a:pt x="316" y="117"/>
                  <a:pt x="315" y="118"/>
                </a:cubicBezTo>
                <a:cubicBezTo>
                  <a:pt x="314" y="120"/>
                  <a:pt x="313" y="122"/>
                  <a:pt x="313" y="124"/>
                </a:cubicBezTo>
                <a:cubicBezTo>
                  <a:pt x="313" y="126"/>
                  <a:pt x="314" y="128"/>
                  <a:pt x="315" y="129"/>
                </a:cubicBezTo>
                <a:cubicBezTo>
                  <a:pt x="315" y="129"/>
                  <a:pt x="315" y="129"/>
                  <a:pt x="315" y="129"/>
                </a:cubicBezTo>
                <a:cubicBezTo>
                  <a:pt x="316" y="130"/>
                  <a:pt x="318" y="131"/>
                  <a:pt x="320" y="131"/>
                </a:cubicBezTo>
                <a:cubicBezTo>
                  <a:pt x="322" y="131"/>
                  <a:pt x="324" y="130"/>
                  <a:pt x="326" y="129"/>
                </a:cubicBezTo>
                <a:cubicBezTo>
                  <a:pt x="326" y="129"/>
                  <a:pt x="326" y="129"/>
                  <a:pt x="326" y="129"/>
                </a:cubicBezTo>
                <a:cubicBezTo>
                  <a:pt x="327" y="128"/>
                  <a:pt x="328" y="126"/>
                  <a:pt x="328" y="124"/>
                </a:cubicBezTo>
                <a:close/>
                <a:moveTo>
                  <a:pt x="328" y="243"/>
                </a:moveTo>
                <a:cubicBezTo>
                  <a:pt x="328" y="241"/>
                  <a:pt x="327" y="239"/>
                  <a:pt x="326" y="238"/>
                </a:cubicBezTo>
                <a:cubicBezTo>
                  <a:pt x="326" y="238"/>
                  <a:pt x="326" y="238"/>
                  <a:pt x="326" y="238"/>
                </a:cubicBezTo>
                <a:cubicBezTo>
                  <a:pt x="324" y="237"/>
                  <a:pt x="322" y="236"/>
                  <a:pt x="320" y="236"/>
                </a:cubicBezTo>
                <a:cubicBezTo>
                  <a:pt x="318" y="236"/>
                  <a:pt x="316" y="237"/>
                  <a:pt x="315" y="238"/>
                </a:cubicBezTo>
                <a:cubicBezTo>
                  <a:pt x="315" y="238"/>
                  <a:pt x="315" y="238"/>
                  <a:pt x="315" y="238"/>
                </a:cubicBezTo>
                <a:cubicBezTo>
                  <a:pt x="314" y="239"/>
                  <a:pt x="313" y="241"/>
                  <a:pt x="313" y="243"/>
                </a:cubicBezTo>
                <a:cubicBezTo>
                  <a:pt x="313" y="245"/>
                  <a:pt x="314" y="247"/>
                  <a:pt x="315" y="249"/>
                </a:cubicBezTo>
                <a:cubicBezTo>
                  <a:pt x="316" y="250"/>
                  <a:pt x="318" y="251"/>
                  <a:pt x="320" y="251"/>
                </a:cubicBezTo>
                <a:cubicBezTo>
                  <a:pt x="322" y="251"/>
                  <a:pt x="324" y="250"/>
                  <a:pt x="326" y="249"/>
                </a:cubicBezTo>
                <a:cubicBezTo>
                  <a:pt x="327" y="247"/>
                  <a:pt x="328" y="245"/>
                  <a:pt x="328" y="243"/>
                </a:cubicBezTo>
                <a:close/>
                <a:moveTo>
                  <a:pt x="328" y="183"/>
                </a:moveTo>
                <a:cubicBezTo>
                  <a:pt x="328" y="181"/>
                  <a:pt x="327" y="179"/>
                  <a:pt x="326" y="178"/>
                </a:cubicBezTo>
                <a:cubicBezTo>
                  <a:pt x="324" y="177"/>
                  <a:pt x="322" y="176"/>
                  <a:pt x="320" y="176"/>
                </a:cubicBezTo>
                <a:cubicBezTo>
                  <a:pt x="318" y="176"/>
                  <a:pt x="316" y="177"/>
                  <a:pt x="315" y="178"/>
                </a:cubicBezTo>
                <a:cubicBezTo>
                  <a:pt x="314" y="179"/>
                  <a:pt x="313" y="181"/>
                  <a:pt x="313" y="183"/>
                </a:cubicBezTo>
                <a:cubicBezTo>
                  <a:pt x="313" y="186"/>
                  <a:pt x="314" y="187"/>
                  <a:pt x="315" y="189"/>
                </a:cubicBezTo>
                <a:cubicBezTo>
                  <a:pt x="316" y="190"/>
                  <a:pt x="318" y="191"/>
                  <a:pt x="320" y="191"/>
                </a:cubicBezTo>
                <a:cubicBezTo>
                  <a:pt x="322" y="191"/>
                  <a:pt x="324" y="190"/>
                  <a:pt x="326" y="189"/>
                </a:cubicBezTo>
                <a:cubicBezTo>
                  <a:pt x="327" y="187"/>
                  <a:pt x="328" y="186"/>
                  <a:pt x="328" y="183"/>
                </a:cubicBezTo>
                <a:close/>
                <a:moveTo>
                  <a:pt x="174" y="12"/>
                </a:moveTo>
                <a:cubicBezTo>
                  <a:pt x="173" y="11"/>
                  <a:pt x="171" y="10"/>
                  <a:pt x="169" y="10"/>
                </a:cubicBezTo>
                <a:cubicBezTo>
                  <a:pt x="167" y="10"/>
                  <a:pt x="165" y="11"/>
                  <a:pt x="163" y="12"/>
                </a:cubicBezTo>
                <a:cubicBezTo>
                  <a:pt x="162" y="13"/>
                  <a:pt x="161" y="15"/>
                  <a:pt x="161" y="17"/>
                </a:cubicBezTo>
                <a:cubicBezTo>
                  <a:pt x="161" y="20"/>
                  <a:pt x="162" y="21"/>
                  <a:pt x="163" y="23"/>
                </a:cubicBezTo>
                <a:cubicBezTo>
                  <a:pt x="163" y="23"/>
                  <a:pt x="163" y="23"/>
                  <a:pt x="163" y="23"/>
                </a:cubicBezTo>
                <a:cubicBezTo>
                  <a:pt x="165" y="24"/>
                  <a:pt x="167" y="25"/>
                  <a:pt x="169" y="25"/>
                </a:cubicBezTo>
                <a:cubicBezTo>
                  <a:pt x="171" y="25"/>
                  <a:pt x="173" y="24"/>
                  <a:pt x="174" y="23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6" y="21"/>
                  <a:pt x="176" y="20"/>
                  <a:pt x="176" y="17"/>
                </a:cubicBezTo>
                <a:cubicBezTo>
                  <a:pt x="176" y="15"/>
                  <a:pt x="176" y="13"/>
                  <a:pt x="174" y="12"/>
                </a:cubicBezTo>
                <a:close/>
                <a:moveTo>
                  <a:pt x="289" y="10"/>
                </a:moveTo>
                <a:cubicBezTo>
                  <a:pt x="287" y="10"/>
                  <a:pt x="285" y="11"/>
                  <a:pt x="284" y="12"/>
                </a:cubicBezTo>
                <a:cubicBezTo>
                  <a:pt x="284" y="12"/>
                  <a:pt x="284" y="12"/>
                  <a:pt x="284" y="12"/>
                </a:cubicBezTo>
                <a:cubicBezTo>
                  <a:pt x="282" y="13"/>
                  <a:pt x="281" y="15"/>
                  <a:pt x="281" y="17"/>
                </a:cubicBezTo>
                <a:cubicBezTo>
                  <a:pt x="281" y="19"/>
                  <a:pt x="282" y="21"/>
                  <a:pt x="284" y="23"/>
                </a:cubicBezTo>
                <a:cubicBezTo>
                  <a:pt x="285" y="24"/>
                  <a:pt x="287" y="25"/>
                  <a:pt x="289" y="25"/>
                </a:cubicBezTo>
                <a:cubicBezTo>
                  <a:pt x="291" y="25"/>
                  <a:pt x="293" y="24"/>
                  <a:pt x="294" y="23"/>
                </a:cubicBezTo>
                <a:cubicBezTo>
                  <a:pt x="294" y="23"/>
                  <a:pt x="294" y="23"/>
                  <a:pt x="294" y="23"/>
                </a:cubicBezTo>
                <a:cubicBezTo>
                  <a:pt x="296" y="21"/>
                  <a:pt x="296" y="20"/>
                  <a:pt x="296" y="17"/>
                </a:cubicBezTo>
                <a:cubicBezTo>
                  <a:pt x="296" y="15"/>
                  <a:pt x="296" y="13"/>
                  <a:pt x="294" y="12"/>
                </a:cubicBezTo>
                <a:cubicBezTo>
                  <a:pt x="293" y="11"/>
                  <a:pt x="291" y="10"/>
                  <a:pt x="289" y="10"/>
                </a:cubicBezTo>
                <a:close/>
                <a:moveTo>
                  <a:pt x="226" y="197"/>
                </a:moveTo>
                <a:cubicBezTo>
                  <a:pt x="226" y="196"/>
                  <a:pt x="226" y="196"/>
                  <a:pt x="226" y="196"/>
                </a:cubicBezTo>
                <a:cubicBezTo>
                  <a:pt x="226" y="195"/>
                  <a:pt x="226" y="195"/>
                  <a:pt x="226" y="194"/>
                </a:cubicBezTo>
                <a:cubicBezTo>
                  <a:pt x="226" y="171"/>
                  <a:pt x="226" y="171"/>
                  <a:pt x="226" y="171"/>
                </a:cubicBezTo>
                <a:cubicBezTo>
                  <a:pt x="226" y="171"/>
                  <a:pt x="226" y="170"/>
                  <a:pt x="226" y="170"/>
                </a:cubicBezTo>
                <a:cubicBezTo>
                  <a:pt x="226" y="170"/>
                  <a:pt x="226" y="169"/>
                  <a:pt x="226" y="169"/>
                </a:cubicBezTo>
                <a:cubicBezTo>
                  <a:pt x="226" y="134"/>
                  <a:pt x="226" y="134"/>
                  <a:pt x="226" y="134"/>
                </a:cubicBezTo>
                <a:cubicBezTo>
                  <a:pt x="226" y="132"/>
                  <a:pt x="225" y="130"/>
                  <a:pt x="223" y="128"/>
                </a:cubicBezTo>
                <a:cubicBezTo>
                  <a:pt x="222" y="127"/>
                  <a:pt x="220" y="126"/>
                  <a:pt x="217" y="126"/>
                </a:cubicBezTo>
                <a:cubicBezTo>
                  <a:pt x="120" y="126"/>
                  <a:pt x="120" y="126"/>
                  <a:pt x="120" y="126"/>
                </a:cubicBezTo>
                <a:cubicBezTo>
                  <a:pt x="118" y="126"/>
                  <a:pt x="116" y="127"/>
                  <a:pt x="114" y="128"/>
                </a:cubicBezTo>
                <a:cubicBezTo>
                  <a:pt x="113" y="130"/>
                  <a:pt x="112" y="132"/>
                  <a:pt x="112" y="134"/>
                </a:cubicBezTo>
                <a:cubicBezTo>
                  <a:pt x="112" y="231"/>
                  <a:pt x="112" y="231"/>
                  <a:pt x="112" y="231"/>
                </a:cubicBezTo>
                <a:cubicBezTo>
                  <a:pt x="112" y="234"/>
                  <a:pt x="113" y="236"/>
                  <a:pt x="114" y="237"/>
                </a:cubicBezTo>
                <a:cubicBezTo>
                  <a:pt x="114" y="237"/>
                  <a:pt x="114" y="237"/>
                  <a:pt x="114" y="237"/>
                </a:cubicBezTo>
                <a:cubicBezTo>
                  <a:pt x="116" y="239"/>
                  <a:pt x="118" y="240"/>
                  <a:pt x="120" y="240"/>
                </a:cubicBezTo>
                <a:cubicBezTo>
                  <a:pt x="217" y="240"/>
                  <a:pt x="217" y="240"/>
                  <a:pt x="217" y="240"/>
                </a:cubicBezTo>
                <a:cubicBezTo>
                  <a:pt x="220" y="240"/>
                  <a:pt x="222" y="239"/>
                  <a:pt x="223" y="237"/>
                </a:cubicBezTo>
                <a:cubicBezTo>
                  <a:pt x="225" y="236"/>
                  <a:pt x="226" y="234"/>
                  <a:pt x="226" y="231"/>
                </a:cubicBezTo>
                <a:cubicBezTo>
                  <a:pt x="226" y="197"/>
                  <a:pt x="226" y="197"/>
                  <a:pt x="226" y="197"/>
                </a:cubicBezTo>
                <a:close/>
                <a:moveTo>
                  <a:pt x="236" y="191"/>
                </a:moveTo>
                <a:cubicBezTo>
                  <a:pt x="254" y="191"/>
                  <a:pt x="254" y="191"/>
                  <a:pt x="254" y="191"/>
                </a:cubicBezTo>
                <a:cubicBezTo>
                  <a:pt x="255" y="191"/>
                  <a:pt x="255" y="191"/>
                  <a:pt x="256" y="191"/>
                </a:cubicBezTo>
                <a:cubicBezTo>
                  <a:pt x="256" y="175"/>
                  <a:pt x="256" y="175"/>
                  <a:pt x="256" y="175"/>
                </a:cubicBezTo>
                <a:cubicBezTo>
                  <a:pt x="255" y="175"/>
                  <a:pt x="255" y="175"/>
                  <a:pt x="254" y="175"/>
                </a:cubicBezTo>
                <a:cubicBezTo>
                  <a:pt x="236" y="175"/>
                  <a:pt x="236" y="175"/>
                  <a:pt x="236" y="175"/>
                </a:cubicBezTo>
                <a:cubicBezTo>
                  <a:pt x="236" y="191"/>
                  <a:pt x="236" y="191"/>
                  <a:pt x="236" y="191"/>
                </a:cubicBezTo>
                <a:close/>
                <a:moveTo>
                  <a:pt x="256" y="200"/>
                </a:moveTo>
                <a:cubicBezTo>
                  <a:pt x="255" y="200"/>
                  <a:pt x="255" y="200"/>
                  <a:pt x="254" y="200"/>
                </a:cubicBezTo>
                <a:cubicBezTo>
                  <a:pt x="236" y="200"/>
                  <a:pt x="236" y="200"/>
                  <a:pt x="236" y="200"/>
                </a:cubicBezTo>
                <a:cubicBezTo>
                  <a:pt x="236" y="231"/>
                  <a:pt x="236" y="231"/>
                  <a:pt x="236" y="231"/>
                </a:cubicBezTo>
                <a:cubicBezTo>
                  <a:pt x="236" y="236"/>
                  <a:pt x="234" y="241"/>
                  <a:pt x="230" y="244"/>
                </a:cubicBezTo>
                <a:cubicBezTo>
                  <a:pt x="227" y="248"/>
                  <a:pt x="222" y="250"/>
                  <a:pt x="217" y="250"/>
                </a:cubicBezTo>
                <a:cubicBezTo>
                  <a:pt x="120" y="250"/>
                  <a:pt x="120" y="250"/>
                  <a:pt x="120" y="250"/>
                </a:cubicBezTo>
                <a:cubicBezTo>
                  <a:pt x="115" y="250"/>
                  <a:pt x="111" y="248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4" y="241"/>
                  <a:pt x="102" y="236"/>
                  <a:pt x="102" y="231"/>
                </a:cubicBezTo>
                <a:cubicBezTo>
                  <a:pt x="102" y="200"/>
                  <a:pt x="102" y="200"/>
                  <a:pt x="102" y="200"/>
                </a:cubicBezTo>
                <a:cubicBezTo>
                  <a:pt x="82" y="200"/>
                  <a:pt x="82" y="200"/>
                  <a:pt x="82" y="200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82" y="253"/>
                  <a:pt x="84" y="259"/>
                  <a:pt x="89" y="263"/>
                </a:cubicBezTo>
                <a:cubicBezTo>
                  <a:pt x="89" y="263"/>
                  <a:pt x="89" y="263"/>
                  <a:pt x="89" y="263"/>
                </a:cubicBezTo>
                <a:cubicBezTo>
                  <a:pt x="93" y="267"/>
                  <a:pt x="99" y="270"/>
                  <a:pt x="105" y="270"/>
                </a:cubicBezTo>
                <a:cubicBezTo>
                  <a:pt x="233" y="270"/>
                  <a:pt x="233" y="270"/>
                  <a:pt x="233" y="270"/>
                </a:cubicBezTo>
                <a:cubicBezTo>
                  <a:pt x="239" y="270"/>
                  <a:pt x="245" y="267"/>
                  <a:pt x="249" y="263"/>
                </a:cubicBezTo>
                <a:cubicBezTo>
                  <a:pt x="249" y="263"/>
                  <a:pt x="249" y="263"/>
                  <a:pt x="249" y="263"/>
                </a:cubicBezTo>
                <a:cubicBezTo>
                  <a:pt x="253" y="259"/>
                  <a:pt x="256" y="253"/>
                  <a:pt x="256" y="246"/>
                </a:cubicBezTo>
                <a:cubicBezTo>
                  <a:pt x="256" y="200"/>
                  <a:pt x="256" y="200"/>
                  <a:pt x="256" y="200"/>
                </a:cubicBezTo>
                <a:close/>
                <a:moveTo>
                  <a:pt x="236" y="165"/>
                </a:moveTo>
                <a:cubicBezTo>
                  <a:pt x="254" y="165"/>
                  <a:pt x="254" y="165"/>
                  <a:pt x="254" y="165"/>
                </a:cubicBezTo>
                <a:cubicBezTo>
                  <a:pt x="255" y="165"/>
                  <a:pt x="255" y="165"/>
                  <a:pt x="256" y="165"/>
                </a:cubicBezTo>
                <a:cubicBezTo>
                  <a:pt x="256" y="119"/>
                  <a:pt x="256" y="119"/>
                  <a:pt x="256" y="119"/>
                </a:cubicBezTo>
                <a:cubicBezTo>
                  <a:pt x="256" y="113"/>
                  <a:pt x="253" y="107"/>
                  <a:pt x="249" y="103"/>
                </a:cubicBezTo>
                <a:cubicBezTo>
                  <a:pt x="245" y="98"/>
                  <a:pt x="239" y="96"/>
                  <a:pt x="233" y="96"/>
                </a:cubicBezTo>
                <a:cubicBezTo>
                  <a:pt x="105" y="96"/>
                  <a:pt x="105" y="96"/>
                  <a:pt x="105" y="96"/>
                </a:cubicBezTo>
                <a:cubicBezTo>
                  <a:pt x="99" y="96"/>
                  <a:pt x="93" y="98"/>
                  <a:pt x="89" y="103"/>
                </a:cubicBezTo>
                <a:cubicBezTo>
                  <a:pt x="84" y="107"/>
                  <a:pt x="82" y="113"/>
                  <a:pt x="82" y="119"/>
                </a:cubicBezTo>
                <a:cubicBezTo>
                  <a:pt x="82" y="165"/>
                  <a:pt x="82" y="165"/>
                  <a:pt x="8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29"/>
                  <a:pt x="104" y="124"/>
                  <a:pt x="107" y="121"/>
                </a:cubicBezTo>
                <a:cubicBezTo>
                  <a:pt x="111" y="118"/>
                  <a:pt x="115" y="116"/>
                  <a:pt x="120" y="116"/>
                </a:cubicBezTo>
                <a:cubicBezTo>
                  <a:pt x="217" y="116"/>
                  <a:pt x="217" y="116"/>
                  <a:pt x="217" y="116"/>
                </a:cubicBezTo>
                <a:cubicBezTo>
                  <a:pt x="222" y="116"/>
                  <a:pt x="227" y="118"/>
                  <a:pt x="230" y="121"/>
                </a:cubicBezTo>
                <a:cubicBezTo>
                  <a:pt x="230" y="121"/>
                  <a:pt x="230" y="121"/>
                  <a:pt x="230" y="121"/>
                </a:cubicBezTo>
                <a:cubicBezTo>
                  <a:pt x="234" y="124"/>
                  <a:pt x="236" y="129"/>
                  <a:pt x="236" y="134"/>
                </a:cubicBezTo>
                <a:cubicBezTo>
                  <a:pt x="236" y="165"/>
                  <a:pt x="236" y="165"/>
                  <a:pt x="236" y="165"/>
                </a:cubicBezTo>
                <a:close/>
                <a:moveTo>
                  <a:pt x="82" y="191"/>
                </a:moveTo>
                <a:cubicBezTo>
                  <a:pt x="102" y="191"/>
                  <a:pt x="102" y="191"/>
                  <a:pt x="102" y="191"/>
                </a:cubicBezTo>
                <a:cubicBezTo>
                  <a:pt x="102" y="175"/>
                  <a:pt x="102" y="175"/>
                  <a:pt x="102" y="175"/>
                </a:cubicBezTo>
                <a:cubicBezTo>
                  <a:pt x="82" y="175"/>
                  <a:pt x="82" y="175"/>
                  <a:pt x="82" y="175"/>
                </a:cubicBezTo>
                <a:cubicBezTo>
                  <a:pt x="82" y="191"/>
                  <a:pt x="82" y="191"/>
                  <a:pt x="82" y="191"/>
                </a:cubicBezTo>
                <a:close/>
                <a:moveTo>
                  <a:pt x="207" y="211"/>
                </a:moveTo>
                <a:cubicBezTo>
                  <a:pt x="201" y="211"/>
                  <a:pt x="197" y="216"/>
                  <a:pt x="197" y="221"/>
                </a:cubicBezTo>
                <a:cubicBezTo>
                  <a:pt x="197" y="227"/>
                  <a:pt x="201" y="231"/>
                  <a:pt x="207" y="231"/>
                </a:cubicBezTo>
                <a:cubicBezTo>
                  <a:pt x="213" y="231"/>
                  <a:pt x="217" y="227"/>
                  <a:pt x="217" y="221"/>
                </a:cubicBezTo>
                <a:cubicBezTo>
                  <a:pt x="217" y="216"/>
                  <a:pt x="213" y="211"/>
                  <a:pt x="207" y="211"/>
                </a:cubicBezTo>
                <a:close/>
                <a:moveTo>
                  <a:pt x="181" y="211"/>
                </a:moveTo>
                <a:cubicBezTo>
                  <a:pt x="175" y="211"/>
                  <a:pt x="171" y="216"/>
                  <a:pt x="171" y="221"/>
                </a:cubicBezTo>
                <a:cubicBezTo>
                  <a:pt x="171" y="227"/>
                  <a:pt x="175" y="231"/>
                  <a:pt x="181" y="231"/>
                </a:cubicBezTo>
                <a:cubicBezTo>
                  <a:pt x="187" y="231"/>
                  <a:pt x="191" y="227"/>
                  <a:pt x="191" y="221"/>
                </a:cubicBezTo>
                <a:cubicBezTo>
                  <a:pt x="191" y="216"/>
                  <a:pt x="187" y="211"/>
                  <a:pt x="181" y="211"/>
                </a:cubicBezTo>
                <a:close/>
                <a:moveTo>
                  <a:pt x="155" y="211"/>
                </a:moveTo>
                <a:cubicBezTo>
                  <a:pt x="149" y="211"/>
                  <a:pt x="145" y="216"/>
                  <a:pt x="145" y="221"/>
                </a:cubicBezTo>
                <a:cubicBezTo>
                  <a:pt x="145" y="227"/>
                  <a:pt x="149" y="231"/>
                  <a:pt x="155" y="231"/>
                </a:cubicBezTo>
                <a:cubicBezTo>
                  <a:pt x="161" y="231"/>
                  <a:pt x="165" y="227"/>
                  <a:pt x="165" y="221"/>
                </a:cubicBezTo>
                <a:cubicBezTo>
                  <a:pt x="165" y="216"/>
                  <a:pt x="161" y="211"/>
                  <a:pt x="155" y="211"/>
                </a:cubicBezTo>
                <a:close/>
                <a:moveTo>
                  <a:pt x="129" y="211"/>
                </a:moveTo>
                <a:cubicBezTo>
                  <a:pt x="124" y="211"/>
                  <a:pt x="119" y="216"/>
                  <a:pt x="119" y="221"/>
                </a:cubicBezTo>
                <a:cubicBezTo>
                  <a:pt x="119" y="227"/>
                  <a:pt x="124" y="231"/>
                  <a:pt x="129" y="231"/>
                </a:cubicBezTo>
                <a:cubicBezTo>
                  <a:pt x="135" y="231"/>
                  <a:pt x="139" y="227"/>
                  <a:pt x="139" y="221"/>
                </a:cubicBezTo>
                <a:cubicBezTo>
                  <a:pt x="139" y="216"/>
                  <a:pt x="135" y="211"/>
                  <a:pt x="129" y="211"/>
                </a:cubicBezTo>
                <a:close/>
                <a:moveTo>
                  <a:pt x="207" y="186"/>
                </a:moveTo>
                <a:cubicBezTo>
                  <a:pt x="201" y="186"/>
                  <a:pt x="197" y="190"/>
                  <a:pt x="197" y="196"/>
                </a:cubicBezTo>
                <a:cubicBezTo>
                  <a:pt x="197" y="202"/>
                  <a:pt x="201" y="206"/>
                  <a:pt x="207" y="206"/>
                </a:cubicBezTo>
                <a:cubicBezTo>
                  <a:pt x="213" y="206"/>
                  <a:pt x="217" y="202"/>
                  <a:pt x="217" y="196"/>
                </a:cubicBezTo>
                <a:cubicBezTo>
                  <a:pt x="217" y="190"/>
                  <a:pt x="213" y="186"/>
                  <a:pt x="207" y="186"/>
                </a:cubicBezTo>
                <a:close/>
                <a:moveTo>
                  <a:pt x="181" y="186"/>
                </a:moveTo>
                <a:cubicBezTo>
                  <a:pt x="175" y="186"/>
                  <a:pt x="171" y="190"/>
                  <a:pt x="171" y="196"/>
                </a:cubicBezTo>
                <a:cubicBezTo>
                  <a:pt x="171" y="202"/>
                  <a:pt x="175" y="206"/>
                  <a:pt x="181" y="206"/>
                </a:cubicBezTo>
                <a:cubicBezTo>
                  <a:pt x="187" y="206"/>
                  <a:pt x="191" y="202"/>
                  <a:pt x="191" y="196"/>
                </a:cubicBezTo>
                <a:cubicBezTo>
                  <a:pt x="191" y="190"/>
                  <a:pt x="187" y="186"/>
                  <a:pt x="181" y="186"/>
                </a:cubicBezTo>
                <a:close/>
                <a:moveTo>
                  <a:pt x="155" y="186"/>
                </a:moveTo>
                <a:cubicBezTo>
                  <a:pt x="149" y="186"/>
                  <a:pt x="145" y="190"/>
                  <a:pt x="145" y="196"/>
                </a:cubicBezTo>
                <a:cubicBezTo>
                  <a:pt x="145" y="202"/>
                  <a:pt x="149" y="206"/>
                  <a:pt x="155" y="206"/>
                </a:cubicBezTo>
                <a:cubicBezTo>
                  <a:pt x="161" y="206"/>
                  <a:pt x="165" y="202"/>
                  <a:pt x="165" y="196"/>
                </a:cubicBezTo>
                <a:cubicBezTo>
                  <a:pt x="165" y="190"/>
                  <a:pt x="161" y="186"/>
                  <a:pt x="155" y="186"/>
                </a:cubicBezTo>
                <a:close/>
                <a:moveTo>
                  <a:pt x="129" y="186"/>
                </a:moveTo>
                <a:cubicBezTo>
                  <a:pt x="124" y="186"/>
                  <a:pt x="119" y="190"/>
                  <a:pt x="119" y="196"/>
                </a:cubicBezTo>
                <a:cubicBezTo>
                  <a:pt x="119" y="202"/>
                  <a:pt x="124" y="206"/>
                  <a:pt x="129" y="206"/>
                </a:cubicBezTo>
                <a:cubicBezTo>
                  <a:pt x="135" y="206"/>
                  <a:pt x="139" y="202"/>
                  <a:pt x="139" y="196"/>
                </a:cubicBezTo>
                <a:cubicBezTo>
                  <a:pt x="139" y="190"/>
                  <a:pt x="135" y="186"/>
                  <a:pt x="129" y="186"/>
                </a:cubicBezTo>
                <a:close/>
                <a:moveTo>
                  <a:pt x="207" y="160"/>
                </a:moveTo>
                <a:cubicBezTo>
                  <a:pt x="201" y="160"/>
                  <a:pt x="197" y="165"/>
                  <a:pt x="197" y="170"/>
                </a:cubicBezTo>
                <a:cubicBezTo>
                  <a:pt x="197" y="176"/>
                  <a:pt x="201" y="181"/>
                  <a:pt x="207" y="181"/>
                </a:cubicBezTo>
                <a:cubicBezTo>
                  <a:pt x="213" y="181"/>
                  <a:pt x="217" y="176"/>
                  <a:pt x="217" y="170"/>
                </a:cubicBezTo>
                <a:cubicBezTo>
                  <a:pt x="217" y="165"/>
                  <a:pt x="213" y="160"/>
                  <a:pt x="207" y="160"/>
                </a:cubicBezTo>
                <a:close/>
                <a:moveTo>
                  <a:pt x="181" y="160"/>
                </a:moveTo>
                <a:cubicBezTo>
                  <a:pt x="175" y="160"/>
                  <a:pt x="171" y="165"/>
                  <a:pt x="171" y="170"/>
                </a:cubicBezTo>
                <a:cubicBezTo>
                  <a:pt x="171" y="176"/>
                  <a:pt x="175" y="181"/>
                  <a:pt x="181" y="181"/>
                </a:cubicBezTo>
                <a:cubicBezTo>
                  <a:pt x="187" y="181"/>
                  <a:pt x="191" y="176"/>
                  <a:pt x="191" y="170"/>
                </a:cubicBezTo>
                <a:cubicBezTo>
                  <a:pt x="191" y="165"/>
                  <a:pt x="187" y="160"/>
                  <a:pt x="181" y="160"/>
                </a:cubicBezTo>
                <a:close/>
                <a:moveTo>
                  <a:pt x="155" y="160"/>
                </a:moveTo>
                <a:cubicBezTo>
                  <a:pt x="149" y="160"/>
                  <a:pt x="145" y="165"/>
                  <a:pt x="145" y="170"/>
                </a:cubicBezTo>
                <a:cubicBezTo>
                  <a:pt x="145" y="176"/>
                  <a:pt x="149" y="181"/>
                  <a:pt x="155" y="181"/>
                </a:cubicBezTo>
                <a:cubicBezTo>
                  <a:pt x="161" y="181"/>
                  <a:pt x="165" y="176"/>
                  <a:pt x="165" y="170"/>
                </a:cubicBezTo>
                <a:cubicBezTo>
                  <a:pt x="165" y="165"/>
                  <a:pt x="161" y="160"/>
                  <a:pt x="155" y="160"/>
                </a:cubicBezTo>
                <a:close/>
                <a:moveTo>
                  <a:pt x="129" y="160"/>
                </a:moveTo>
                <a:cubicBezTo>
                  <a:pt x="124" y="160"/>
                  <a:pt x="119" y="165"/>
                  <a:pt x="119" y="170"/>
                </a:cubicBezTo>
                <a:cubicBezTo>
                  <a:pt x="119" y="176"/>
                  <a:pt x="124" y="181"/>
                  <a:pt x="129" y="181"/>
                </a:cubicBezTo>
                <a:cubicBezTo>
                  <a:pt x="135" y="181"/>
                  <a:pt x="139" y="176"/>
                  <a:pt x="139" y="170"/>
                </a:cubicBezTo>
                <a:cubicBezTo>
                  <a:pt x="139" y="165"/>
                  <a:pt x="135" y="160"/>
                  <a:pt x="129" y="160"/>
                </a:cubicBezTo>
                <a:close/>
                <a:moveTo>
                  <a:pt x="207" y="135"/>
                </a:moveTo>
                <a:cubicBezTo>
                  <a:pt x="201" y="135"/>
                  <a:pt x="197" y="139"/>
                  <a:pt x="197" y="145"/>
                </a:cubicBezTo>
                <a:cubicBezTo>
                  <a:pt x="197" y="151"/>
                  <a:pt x="201" y="155"/>
                  <a:pt x="207" y="155"/>
                </a:cubicBezTo>
                <a:cubicBezTo>
                  <a:pt x="213" y="155"/>
                  <a:pt x="217" y="151"/>
                  <a:pt x="217" y="145"/>
                </a:cubicBezTo>
                <a:cubicBezTo>
                  <a:pt x="217" y="139"/>
                  <a:pt x="213" y="135"/>
                  <a:pt x="207" y="135"/>
                </a:cubicBezTo>
                <a:close/>
                <a:moveTo>
                  <a:pt x="181" y="135"/>
                </a:moveTo>
                <a:cubicBezTo>
                  <a:pt x="175" y="135"/>
                  <a:pt x="171" y="139"/>
                  <a:pt x="171" y="145"/>
                </a:cubicBezTo>
                <a:cubicBezTo>
                  <a:pt x="171" y="151"/>
                  <a:pt x="175" y="155"/>
                  <a:pt x="181" y="155"/>
                </a:cubicBezTo>
                <a:cubicBezTo>
                  <a:pt x="187" y="155"/>
                  <a:pt x="191" y="151"/>
                  <a:pt x="191" y="145"/>
                </a:cubicBezTo>
                <a:cubicBezTo>
                  <a:pt x="191" y="139"/>
                  <a:pt x="187" y="135"/>
                  <a:pt x="181" y="135"/>
                </a:cubicBezTo>
                <a:close/>
                <a:moveTo>
                  <a:pt x="155" y="135"/>
                </a:moveTo>
                <a:cubicBezTo>
                  <a:pt x="149" y="135"/>
                  <a:pt x="145" y="139"/>
                  <a:pt x="145" y="145"/>
                </a:cubicBezTo>
                <a:cubicBezTo>
                  <a:pt x="145" y="151"/>
                  <a:pt x="149" y="155"/>
                  <a:pt x="155" y="155"/>
                </a:cubicBezTo>
                <a:cubicBezTo>
                  <a:pt x="161" y="155"/>
                  <a:pt x="165" y="151"/>
                  <a:pt x="165" y="145"/>
                </a:cubicBezTo>
                <a:cubicBezTo>
                  <a:pt x="165" y="139"/>
                  <a:pt x="161" y="135"/>
                  <a:pt x="155" y="135"/>
                </a:cubicBezTo>
                <a:close/>
                <a:moveTo>
                  <a:pt x="129" y="135"/>
                </a:moveTo>
                <a:cubicBezTo>
                  <a:pt x="124" y="135"/>
                  <a:pt x="119" y="139"/>
                  <a:pt x="119" y="145"/>
                </a:cubicBezTo>
                <a:cubicBezTo>
                  <a:pt x="119" y="151"/>
                  <a:pt x="124" y="155"/>
                  <a:pt x="129" y="155"/>
                </a:cubicBezTo>
                <a:cubicBezTo>
                  <a:pt x="135" y="155"/>
                  <a:pt x="139" y="151"/>
                  <a:pt x="139" y="145"/>
                </a:cubicBezTo>
                <a:cubicBezTo>
                  <a:pt x="139" y="139"/>
                  <a:pt x="135" y="135"/>
                  <a:pt x="129" y="135"/>
                </a:cubicBezTo>
                <a:close/>
                <a:moveTo>
                  <a:pt x="56" y="12"/>
                </a:moveTo>
                <a:cubicBezTo>
                  <a:pt x="54" y="11"/>
                  <a:pt x="52" y="10"/>
                  <a:pt x="50" y="10"/>
                </a:cubicBezTo>
                <a:cubicBezTo>
                  <a:pt x="48" y="10"/>
                  <a:pt x="46" y="11"/>
                  <a:pt x="45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3" y="13"/>
                  <a:pt x="43" y="15"/>
                  <a:pt x="43" y="17"/>
                </a:cubicBezTo>
                <a:cubicBezTo>
                  <a:pt x="43" y="20"/>
                  <a:pt x="43" y="21"/>
                  <a:pt x="45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6" y="24"/>
                  <a:pt x="48" y="25"/>
                  <a:pt x="50" y="25"/>
                </a:cubicBezTo>
                <a:cubicBezTo>
                  <a:pt x="52" y="25"/>
                  <a:pt x="54" y="24"/>
                  <a:pt x="56" y="23"/>
                </a:cubicBezTo>
                <a:cubicBezTo>
                  <a:pt x="56" y="23"/>
                  <a:pt x="56" y="23"/>
                  <a:pt x="56" y="23"/>
                </a:cubicBezTo>
                <a:cubicBezTo>
                  <a:pt x="57" y="21"/>
                  <a:pt x="58" y="20"/>
                  <a:pt x="58" y="17"/>
                </a:cubicBezTo>
                <a:cubicBezTo>
                  <a:pt x="58" y="15"/>
                  <a:pt x="57" y="13"/>
                  <a:pt x="5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49" name="Conector reto 148"/>
          <p:cNvCxnSpPr/>
          <p:nvPr/>
        </p:nvCxnSpPr>
        <p:spPr>
          <a:xfrm>
            <a:off x="17958203" y="8139128"/>
            <a:ext cx="2992666" cy="0"/>
          </a:xfrm>
          <a:prstGeom prst="line">
            <a:avLst/>
          </a:prstGeom>
          <a:ln w="101600">
            <a:solidFill>
              <a:srgbClr val="ECC5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" name="Agrupar 206"/>
          <p:cNvGrpSpPr/>
          <p:nvPr/>
        </p:nvGrpSpPr>
        <p:grpSpPr>
          <a:xfrm>
            <a:off x="17959065" y="8695929"/>
            <a:ext cx="2939368" cy="2943633"/>
            <a:chOff x="1588" y="0"/>
            <a:chExt cx="1095374" cy="1096963"/>
          </a:xfrm>
          <a:solidFill>
            <a:schemeClr val="bg1">
              <a:alpha val="30000"/>
            </a:schemeClr>
          </a:solidFill>
        </p:grpSpPr>
        <p:sp>
          <p:nvSpPr>
            <p:cNvPr id="153" name="Freeform 70"/>
            <p:cNvSpPr>
              <a:spLocks noEditPoints="1"/>
            </p:cNvSpPr>
            <p:nvPr/>
          </p:nvSpPr>
          <p:spPr bwMode="auto">
            <a:xfrm>
              <a:off x="1588" y="0"/>
              <a:ext cx="1095374" cy="1096963"/>
            </a:xfrm>
            <a:custGeom>
              <a:avLst/>
              <a:gdLst>
                <a:gd name="T0" fmla="*/ 690 w 690"/>
                <a:gd name="T1" fmla="*/ 691 h 691"/>
                <a:gd name="T2" fmla="*/ 0 w 690"/>
                <a:gd name="T3" fmla="*/ 691 h 691"/>
                <a:gd name="T4" fmla="*/ 0 w 690"/>
                <a:gd name="T5" fmla="*/ 0 h 691"/>
                <a:gd name="T6" fmla="*/ 690 w 690"/>
                <a:gd name="T7" fmla="*/ 0 h 691"/>
                <a:gd name="T8" fmla="*/ 690 w 690"/>
                <a:gd name="T9" fmla="*/ 691 h 691"/>
                <a:gd name="T10" fmla="*/ 22 w 690"/>
                <a:gd name="T11" fmla="*/ 669 h 691"/>
                <a:gd name="T12" fmla="*/ 668 w 690"/>
                <a:gd name="T13" fmla="*/ 669 h 691"/>
                <a:gd name="T14" fmla="*/ 668 w 690"/>
                <a:gd name="T15" fmla="*/ 22 h 691"/>
                <a:gd name="T16" fmla="*/ 22 w 690"/>
                <a:gd name="T17" fmla="*/ 22 h 691"/>
                <a:gd name="T18" fmla="*/ 22 w 690"/>
                <a:gd name="T19" fmla="*/ 66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0" h="691">
                  <a:moveTo>
                    <a:pt x="690" y="691"/>
                  </a:moveTo>
                  <a:lnTo>
                    <a:pt x="0" y="691"/>
                  </a:lnTo>
                  <a:lnTo>
                    <a:pt x="0" y="0"/>
                  </a:lnTo>
                  <a:lnTo>
                    <a:pt x="690" y="0"/>
                  </a:lnTo>
                  <a:lnTo>
                    <a:pt x="690" y="691"/>
                  </a:lnTo>
                  <a:close/>
                  <a:moveTo>
                    <a:pt x="22" y="669"/>
                  </a:moveTo>
                  <a:lnTo>
                    <a:pt x="668" y="669"/>
                  </a:lnTo>
                  <a:lnTo>
                    <a:pt x="668" y="22"/>
                  </a:lnTo>
                  <a:lnTo>
                    <a:pt x="22" y="22"/>
                  </a:lnTo>
                  <a:lnTo>
                    <a:pt x="22" y="6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Rectangle 71"/>
            <p:cNvSpPr>
              <a:spLocks noChangeArrowheads="1"/>
            </p:cNvSpPr>
            <p:nvPr/>
          </p:nvSpPr>
          <p:spPr bwMode="auto">
            <a:xfrm>
              <a:off x="55679" y="136525"/>
              <a:ext cx="996454" cy="4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Rectangle 72"/>
            <p:cNvSpPr>
              <a:spLocks noChangeArrowheads="1"/>
            </p:cNvSpPr>
            <p:nvPr/>
          </p:nvSpPr>
          <p:spPr bwMode="auto">
            <a:xfrm>
              <a:off x="69850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Rectangle 73"/>
            <p:cNvSpPr>
              <a:spLocks noChangeArrowheads="1"/>
            </p:cNvSpPr>
            <p:nvPr/>
          </p:nvSpPr>
          <p:spPr bwMode="auto">
            <a:xfrm>
              <a:off x="138113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Rectangle 74"/>
            <p:cNvSpPr>
              <a:spLocks noChangeArrowheads="1"/>
            </p:cNvSpPr>
            <p:nvPr/>
          </p:nvSpPr>
          <p:spPr bwMode="auto">
            <a:xfrm>
              <a:off x="206375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Rectangle 76"/>
            <p:cNvSpPr>
              <a:spLocks noChangeArrowheads="1"/>
            </p:cNvSpPr>
            <p:nvPr/>
          </p:nvSpPr>
          <p:spPr bwMode="auto">
            <a:xfrm>
              <a:off x="344488" y="68263"/>
              <a:ext cx="684212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reeform 77"/>
            <p:cNvSpPr>
              <a:spLocks noEditPoints="1"/>
            </p:cNvSpPr>
            <p:nvPr/>
          </p:nvSpPr>
          <p:spPr bwMode="auto">
            <a:xfrm>
              <a:off x="258763" y="393700"/>
              <a:ext cx="581025" cy="446088"/>
            </a:xfrm>
            <a:custGeom>
              <a:avLst/>
              <a:gdLst>
                <a:gd name="T0" fmla="*/ 132 w 136"/>
                <a:gd name="T1" fmla="*/ 104 h 104"/>
                <a:gd name="T2" fmla="*/ 4 w 136"/>
                <a:gd name="T3" fmla="*/ 104 h 104"/>
                <a:gd name="T4" fmla="*/ 0 w 136"/>
                <a:gd name="T5" fmla="*/ 102 h 104"/>
                <a:gd name="T6" fmla="*/ 1 w 136"/>
                <a:gd name="T7" fmla="*/ 98 h 104"/>
                <a:gd name="T8" fmla="*/ 65 w 136"/>
                <a:gd name="T9" fmla="*/ 2 h 104"/>
                <a:gd name="T10" fmla="*/ 71 w 136"/>
                <a:gd name="T11" fmla="*/ 2 h 104"/>
                <a:gd name="T12" fmla="*/ 135 w 136"/>
                <a:gd name="T13" fmla="*/ 98 h 104"/>
                <a:gd name="T14" fmla="*/ 136 w 136"/>
                <a:gd name="T15" fmla="*/ 102 h 104"/>
                <a:gd name="T16" fmla="*/ 132 w 136"/>
                <a:gd name="T17" fmla="*/ 104 h 104"/>
                <a:gd name="T18" fmla="*/ 11 w 136"/>
                <a:gd name="T19" fmla="*/ 96 h 104"/>
                <a:gd name="T20" fmla="*/ 125 w 136"/>
                <a:gd name="T21" fmla="*/ 96 h 104"/>
                <a:gd name="T22" fmla="*/ 68 w 136"/>
                <a:gd name="T23" fmla="*/ 11 h 104"/>
                <a:gd name="T24" fmla="*/ 11 w 136"/>
                <a:gd name="T25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104">
                  <a:moveTo>
                    <a:pt x="132" y="104"/>
                  </a:moveTo>
                  <a:cubicBezTo>
                    <a:pt x="4" y="104"/>
                    <a:pt x="4" y="104"/>
                    <a:pt x="4" y="104"/>
                  </a:cubicBezTo>
                  <a:cubicBezTo>
                    <a:pt x="3" y="104"/>
                    <a:pt x="1" y="103"/>
                    <a:pt x="0" y="102"/>
                  </a:cubicBezTo>
                  <a:cubicBezTo>
                    <a:pt x="0" y="101"/>
                    <a:pt x="0" y="99"/>
                    <a:pt x="1" y="98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0"/>
                    <a:pt x="70" y="0"/>
                    <a:pt x="71" y="2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36" y="99"/>
                    <a:pt x="136" y="101"/>
                    <a:pt x="136" y="102"/>
                  </a:cubicBezTo>
                  <a:cubicBezTo>
                    <a:pt x="135" y="103"/>
                    <a:pt x="133" y="104"/>
                    <a:pt x="132" y="104"/>
                  </a:cubicBezTo>
                  <a:close/>
                  <a:moveTo>
                    <a:pt x="11" y="96"/>
                  </a:moveTo>
                  <a:cubicBezTo>
                    <a:pt x="125" y="96"/>
                    <a:pt x="125" y="96"/>
                    <a:pt x="125" y="96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11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Rectangle 78"/>
            <p:cNvSpPr>
              <a:spLocks noChangeArrowheads="1"/>
            </p:cNvSpPr>
            <p:nvPr/>
          </p:nvSpPr>
          <p:spPr bwMode="auto">
            <a:xfrm>
              <a:off x="531813" y="547688"/>
              <a:ext cx="3492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Rectangle 79"/>
            <p:cNvSpPr>
              <a:spLocks noChangeArrowheads="1"/>
            </p:cNvSpPr>
            <p:nvPr/>
          </p:nvSpPr>
          <p:spPr bwMode="auto">
            <a:xfrm>
              <a:off x="531813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Rectangle 80"/>
            <p:cNvSpPr>
              <a:spLocks noChangeArrowheads="1"/>
            </p:cNvSpPr>
            <p:nvPr/>
          </p:nvSpPr>
          <p:spPr bwMode="auto">
            <a:xfrm>
              <a:off x="1206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Rectangle 81"/>
            <p:cNvSpPr>
              <a:spLocks noChangeArrowheads="1"/>
            </p:cNvSpPr>
            <p:nvPr/>
          </p:nvSpPr>
          <p:spPr bwMode="auto">
            <a:xfrm>
              <a:off x="25876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Rectangle 82"/>
            <p:cNvSpPr>
              <a:spLocks noChangeArrowheads="1"/>
            </p:cNvSpPr>
            <p:nvPr/>
          </p:nvSpPr>
          <p:spPr bwMode="auto">
            <a:xfrm>
              <a:off x="32702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Rectangle 83"/>
            <p:cNvSpPr>
              <a:spLocks noChangeArrowheads="1"/>
            </p:cNvSpPr>
            <p:nvPr/>
          </p:nvSpPr>
          <p:spPr bwMode="auto">
            <a:xfrm>
              <a:off x="395288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Rectangle 84"/>
            <p:cNvSpPr>
              <a:spLocks noChangeArrowheads="1"/>
            </p:cNvSpPr>
            <p:nvPr/>
          </p:nvSpPr>
          <p:spPr bwMode="auto">
            <a:xfrm>
              <a:off x="4635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Rectangle 85"/>
            <p:cNvSpPr>
              <a:spLocks noChangeArrowheads="1"/>
            </p:cNvSpPr>
            <p:nvPr/>
          </p:nvSpPr>
          <p:spPr bwMode="auto">
            <a:xfrm>
              <a:off x="531813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Rectangle 86"/>
            <p:cNvSpPr>
              <a:spLocks noChangeArrowheads="1"/>
            </p:cNvSpPr>
            <p:nvPr/>
          </p:nvSpPr>
          <p:spPr bwMode="auto">
            <a:xfrm>
              <a:off x="600075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Rectangle 87"/>
            <p:cNvSpPr>
              <a:spLocks noChangeArrowheads="1"/>
            </p:cNvSpPr>
            <p:nvPr/>
          </p:nvSpPr>
          <p:spPr bwMode="auto">
            <a:xfrm>
              <a:off x="668338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Rectangle 88"/>
            <p:cNvSpPr>
              <a:spLocks noChangeArrowheads="1"/>
            </p:cNvSpPr>
            <p:nvPr/>
          </p:nvSpPr>
          <p:spPr bwMode="auto">
            <a:xfrm>
              <a:off x="73660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Rectangle 89"/>
            <p:cNvSpPr>
              <a:spLocks noChangeArrowheads="1"/>
            </p:cNvSpPr>
            <p:nvPr/>
          </p:nvSpPr>
          <p:spPr bwMode="auto">
            <a:xfrm>
              <a:off x="80645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Rectangle 90"/>
            <p:cNvSpPr>
              <a:spLocks noChangeArrowheads="1"/>
            </p:cNvSpPr>
            <p:nvPr/>
          </p:nvSpPr>
          <p:spPr bwMode="auto">
            <a:xfrm>
              <a:off x="87471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Rectangle 91"/>
            <p:cNvSpPr>
              <a:spLocks noChangeArrowheads="1"/>
            </p:cNvSpPr>
            <p:nvPr/>
          </p:nvSpPr>
          <p:spPr bwMode="auto">
            <a:xfrm>
              <a:off x="19050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Rectangle 92"/>
            <p:cNvSpPr>
              <a:spLocks noChangeArrowheads="1"/>
            </p:cNvSpPr>
            <p:nvPr/>
          </p:nvSpPr>
          <p:spPr bwMode="auto">
            <a:xfrm>
              <a:off x="94297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Rectangle 93"/>
            <p:cNvSpPr>
              <a:spLocks noChangeArrowheads="1"/>
            </p:cNvSpPr>
            <p:nvPr/>
          </p:nvSpPr>
          <p:spPr bwMode="auto">
            <a:xfrm>
              <a:off x="1206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Rectangle 94"/>
            <p:cNvSpPr>
              <a:spLocks noChangeArrowheads="1"/>
            </p:cNvSpPr>
            <p:nvPr/>
          </p:nvSpPr>
          <p:spPr bwMode="auto">
            <a:xfrm>
              <a:off x="25876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Rectangle 95"/>
            <p:cNvSpPr>
              <a:spLocks noChangeArrowheads="1"/>
            </p:cNvSpPr>
            <p:nvPr/>
          </p:nvSpPr>
          <p:spPr bwMode="auto">
            <a:xfrm>
              <a:off x="19050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Rectangle 96"/>
            <p:cNvSpPr>
              <a:spLocks noChangeArrowheads="1"/>
            </p:cNvSpPr>
            <p:nvPr/>
          </p:nvSpPr>
          <p:spPr bwMode="auto">
            <a:xfrm>
              <a:off x="87471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Rectangle 97"/>
            <p:cNvSpPr>
              <a:spLocks noChangeArrowheads="1"/>
            </p:cNvSpPr>
            <p:nvPr/>
          </p:nvSpPr>
          <p:spPr bwMode="auto">
            <a:xfrm>
              <a:off x="32702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Rectangle 98"/>
            <p:cNvSpPr>
              <a:spLocks noChangeArrowheads="1"/>
            </p:cNvSpPr>
            <p:nvPr/>
          </p:nvSpPr>
          <p:spPr bwMode="auto">
            <a:xfrm>
              <a:off x="395288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Rectangle 99"/>
            <p:cNvSpPr>
              <a:spLocks noChangeArrowheads="1"/>
            </p:cNvSpPr>
            <p:nvPr/>
          </p:nvSpPr>
          <p:spPr bwMode="auto">
            <a:xfrm>
              <a:off x="4635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Rectangle 100"/>
            <p:cNvSpPr>
              <a:spLocks noChangeArrowheads="1"/>
            </p:cNvSpPr>
            <p:nvPr/>
          </p:nvSpPr>
          <p:spPr bwMode="auto">
            <a:xfrm>
              <a:off x="531813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Rectangle 101"/>
            <p:cNvSpPr>
              <a:spLocks noChangeArrowheads="1"/>
            </p:cNvSpPr>
            <p:nvPr/>
          </p:nvSpPr>
          <p:spPr bwMode="auto">
            <a:xfrm>
              <a:off x="600075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Rectangle 102"/>
            <p:cNvSpPr>
              <a:spLocks noChangeArrowheads="1"/>
            </p:cNvSpPr>
            <p:nvPr/>
          </p:nvSpPr>
          <p:spPr bwMode="auto">
            <a:xfrm>
              <a:off x="668338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Rectangle 103"/>
            <p:cNvSpPr>
              <a:spLocks noChangeArrowheads="1"/>
            </p:cNvSpPr>
            <p:nvPr/>
          </p:nvSpPr>
          <p:spPr bwMode="auto">
            <a:xfrm>
              <a:off x="73660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Rectangle 104"/>
            <p:cNvSpPr>
              <a:spLocks noChangeArrowheads="1"/>
            </p:cNvSpPr>
            <p:nvPr/>
          </p:nvSpPr>
          <p:spPr bwMode="auto">
            <a:xfrm>
              <a:off x="80645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Rectangle 105"/>
            <p:cNvSpPr>
              <a:spLocks noChangeArrowheads="1"/>
            </p:cNvSpPr>
            <p:nvPr/>
          </p:nvSpPr>
          <p:spPr bwMode="auto">
            <a:xfrm>
              <a:off x="94297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Rectangle 106"/>
            <p:cNvSpPr>
              <a:spLocks noChangeArrowheads="1"/>
            </p:cNvSpPr>
            <p:nvPr/>
          </p:nvSpPr>
          <p:spPr bwMode="auto">
            <a:xfrm>
              <a:off x="942975" y="3937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Rectangle 107"/>
            <p:cNvSpPr>
              <a:spLocks noChangeArrowheads="1"/>
            </p:cNvSpPr>
            <p:nvPr/>
          </p:nvSpPr>
          <p:spPr bwMode="auto">
            <a:xfrm>
              <a:off x="942975" y="4619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Rectangle 108"/>
            <p:cNvSpPr>
              <a:spLocks noChangeArrowheads="1"/>
            </p:cNvSpPr>
            <p:nvPr/>
          </p:nvSpPr>
          <p:spPr bwMode="auto">
            <a:xfrm>
              <a:off x="942975" y="531813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Rectangle 109"/>
            <p:cNvSpPr>
              <a:spLocks noChangeArrowheads="1"/>
            </p:cNvSpPr>
            <p:nvPr/>
          </p:nvSpPr>
          <p:spPr bwMode="auto">
            <a:xfrm>
              <a:off x="942975" y="6000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Rectangle 110"/>
            <p:cNvSpPr>
              <a:spLocks noChangeArrowheads="1"/>
            </p:cNvSpPr>
            <p:nvPr/>
          </p:nvSpPr>
          <p:spPr bwMode="auto">
            <a:xfrm>
              <a:off x="942975" y="6683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Rectangle 111"/>
            <p:cNvSpPr>
              <a:spLocks noChangeArrowheads="1"/>
            </p:cNvSpPr>
            <p:nvPr/>
          </p:nvSpPr>
          <p:spPr bwMode="auto">
            <a:xfrm>
              <a:off x="942975" y="7366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Rectangle 112"/>
            <p:cNvSpPr>
              <a:spLocks noChangeArrowheads="1"/>
            </p:cNvSpPr>
            <p:nvPr/>
          </p:nvSpPr>
          <p:spPr bwMode="auto">
            <a:xfrm>
              <a:off x="942975" y="8048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Rectangle 113"/>
            <p:cNvSpPr>
              <a:spLocks noChangeArrowheads="1"/>
            </p:cNvSpPr>
            <p:nvPr/>
          </p:nvSpPr>
          <p:spPr bwMode="auto">
            <a:xfrm>
              <a:off x="942975" y="8731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Rectangle 114"/>
            <p:cNvSpPr>
              <a:spLocks noChangeArrowheads="1"/>
            </p:cNvSpPr>
            <p:nvPr/>
          </p:nvSpPr>
          <p:spPr bwMode="auto">
            <a:xfrm>
              <a:off x="942975" y="3254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Rectangle 115"/>
            <p:cNvSpPr>
              <a:spLocks noChangeArrowheads="1"/>
            </p:cNvSpPr>
            <p:nvPr/>
          </p:nvSpPr>
          <p:spPr bwMode="auto">
            <a:xfrm>
              <a:off x="120650" y="3937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Rectangle 116"/>
            <p:cNvSpPr>
              <a:spLocks noChangeArrowheads="1"/>
            </p:cNvSpPr>
            <p:nvPr/>
          </p:nvSpPr>
          <p:spPr bwMode="auto">
            <a:xfrm>
              <a:off x="120650" y="3254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Rectangle 117"/>
            <p:cNvSpPr>
              <a:spLocks noChangeArrowheads="1"/>
            </p:cNvSpPr>
            <p:nvPr/>
          </p:nvSpPr>
          <p:spPr bwMode="auto">
            <a:xfrm>
              <a:off x="120650" y="4619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Rectangle 118"/>
            <p:cNvSpPr>
              <a:spLocks noChangeArrowheads="1"/>
            </p:cNvSpPr>
            <p:nvPr/>
          </p:nvSpPr>
          <p:spPr bwMode="auto">
            <a:xfrm>
              <a:off x="120650" y="531813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Rectangle 119"/>
            <p:cNvSpPr>
              <a:spLocks noChangeArrowheads="1"/>
            </p:cNvSpPr>
            <p:nvPr/>
          </p:nvSpPr>
          <p:spPr bwMode="auto">
            <a:xfrm>
              <a:off x="120650" y="6000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Rectangle 120"/>
            <p:cNvSpPr>
              <a:spLocks noChangeArrowheads="1"/>
            </p:cNvSpPr>
            <p:nvPr/>
          </p:nvSpPr>
          <p:spPr bwMode="auto">
            <a:xfrm>
              <a:off x="120650" y="6683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Rectangle 121"/>
            <p:cNvSpPr>
              <a:spLocks noChangeArrowheads="1"/>
            </p:cNvSpPr>
            <p:nvPr/>
          </p:nvSpPr>
          <p:spPr bwMode="auto">
            <a:xfrm>
              <a:off x="120650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Rectangle 122"/>
            <p:cNvSpPr>
              <a:spLocks noChangeArrowheads="1"/>
            </p:cNvSpPr>
            <p:nvPr/>
          </p:nvSpPr>
          <p:spPr bwMode="auto">
            <a:xfrm>
              <a:off x="120650" y="8048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Rectangle 123"/>
            <p:cNvSpPr>
              <a:spLocks noChangeArrowheads="1"/>
            </p:cNvSpPr>
            <p:nvPr/>
          </p:nvSpPr>
          <p:spPr bwMode="auto">
            <a:xfrm>
              <a:off x="120650" y="873125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13" name="CaixaDeTexto 212"/>
          <p:cNvSpPr txBox="1"/>
          <p:nvPr/>
        </p:nvSpPr>
        <p:spPr>
          <a:xfrm>
            <a:off x="1597754" y="6720876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999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4" name="CaixaDeTexto 213"/>
          <p:cNvSpPr txBox="1"/>
          <p:nvPr/>
        </p:nvSpPr>
        <p:spPr>
          <a:xfrm>
            <a:off x="20881329" y="7645063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999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5" name="CaixaDeTexto 214"/>
          <p:cNvSpPr txBox="1"/>
          <p:nvPr/>
        </p:nvSpPr>
        <p:spPr>
          <a:xfrm>
            <a:off x="20509360" y="5903421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6398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grpSp>
        <p:nvGrpSpPr>
          <p:cNvPr id="227" name="Agrupar 226"/>
          <p:cNvGrpSpPr/>
          <p:nvPr/>
        </p:nvGrpSpPr>
        <p:grpSpPr>
          <a:xfrm>
            <a:off x="21617468" y="6542980"/>
            <a:ext cx="1559704" cy="1564233"/>
            <a:chOff x="6350" y="0"/>
            <a:chExt cx="1093787" cy="1096963"/>
          </a:xfrm>
          <a:solidFill>
            <a:schemeClr val="bg1">
              <a:alpha val="20000"/>
            </a:schemeClr>
          </a:solidFill>
        </p:grpSpPr>
        <p:sp>
          <p:nvSpPr>
            <p:cNvPr id="219" name="Freeform 127"/>
            <p:cNvSpPr>
              <a:spLocks/>
            </p:cNvSpPr>
            <p:nvPr/>
          </p:nvSpPr>
          <p:spPr bwMode="auto">
            <a:xfrm>
              <a:off x="6350" y="0"/>
              <a:ext cx="1093787" cy="719138"/>
            </a:xfrm>
            <a:custGeom>
              <a:avLst/>
              <a:gdLst>
                <a:gd name="T0" fmla="*/ 204 w 256"/>
                <a:gd name="T1" fmla="*/ 168 h 168"/>
                <a:gd name="T2" fmla="*/ 172 w 256"/>
                <a:gd name="T3" fmla="*/ 168 h 168"/>
                <a:gd name="T4" fmla="*/ 172 w 256"/>
                <a:gd name="T5" fmla="*/ 160 h 168"/>
                <a:gd name="T6" fmla="*/ 204 w 256"/>
                <a:gd name="T7" fmla="*/ 160 h 168"/>
                <a:gd name="T8" fmla="*/ 248 w 256"/>
                <a:gd name="T9" fmla="*/ 116 h 168"/>
                <a:gd name="T10" fmla="*/ 212 w 256"/>
                <a:gd name="T11" fmla="*/ 76 h 168"/>
                <a:gd name="T12" fmla="*/ 208 w 256"/>
                <a:gd name="T13" fmla="*/ 76 h 168"/>
                <a:gd name="T14" fmla="*/ 208 w 256"/>
                <a:gd name="T15" fmla="*/ 72 h 168"/>
                <a:gd name="T16" fmla="*/ 176 w 256"/>
                <a:gd name="T17" fmla="*/ 40 h 168"/>
                <a:gd name="T18" fmla="*/ 170 w 256"/>
                <a:gd name="T19" fmla="*/ 40 h 168"/>
                <a:gd name="T20" fmla="*/ 169 w 256"/>
                <a:gd name="T21" fmla="*/ 38 h 168"/>
                <a:gd name="T22" fmla="*/ 116 w 256"/>
                <a:gd name="T23" fmla="*/ 8 h 168"/>
                <a:gd name="T24" fmla="*/ 56 w 256"/>
                <a:gd name="T25" fmla="*/ 68 h 168"/>
                <a:gd name="T26" fmla="*/ 56 w 256"/>
                <a:gd name="T27" fmla="*/ 72 h 168"/>
                <a:gd name="T28" fmla="*/ 52 w 256"/>
                <a:gd name="T29" fmla="*/ 72 h 168"/>
                <a:gd name="T30" fmla="*/ 8 w 256"/>
                <a:gd name="T31" fmla="*/ 116 h 168"/>
                <a:gd name="T32" fmla="*/ 52 w 256"/>
                <a:gd name="T33" fmla="*/ 160 h 168"/>
                <a:gd name="T34" fmla="*/ 84 w 256"/>
                <a:gd name="T35" fmla="*/ 160 h 168"/>
                <a:gd name="T36" fmla="*/ 84 w 256"/>
                <a:gd name="T37" fmla="*/ 168 h 168"/>
                <a:gd name="T38" fmla="*/ 52 w 256"/>
                <a:gd name="T39" fmla="*/ 168 h 168"/>
                <a:gd name="T40" fmla="*/ 0 w 256"/>
                <a:gd name="T41" fmla="*/ 116 h 168"/>
                <a:gd name="T42" fmla="*/ 48 w 256"/>
                <a:gd name="T43" fmla="*/ 64 h 168"/>
                <a:gd name="T44" fmla="*/ 116 w 256"/>
                <a:gd name="T45" fmla="*/ 0 h 168"/>
                <a:gd name="T46" fmla="*/ 174 w 256"/>
                <a:gd name="T47" fmla="*/ 32 h 168"/>
                <a:gd name="T48" fmla="*/ 176 w 256"/>
                <a:gd name="T49" fmla="*/ 32 h 168"/>
                <a:gd name="T50" fmla="*/ 216 w 256"/>
                <a:gd name="T51" fmla="*/ 68 h 168"/>
                <a:gd name="T52" fmla="*/ 256 w 256"/>
                <a:gd name="T53" fmla="*/ 116 h 168"/>
                <a:gd name="T54" fmla="*/ 204 w 256"/>
                <a:gd name="T5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6" h="168">
                  <a:moveTo>
                    <a:pt x="204" y="168"/>
                  </a:moveTo>
                  <a:cubicBezTo>
                    <a:pt x="172" y="168"/>
                    <a:pt x="172" y="168"/>
                    <a:pt x="172" y="168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28" y="160"/>
                    <a:pt x="248" y="140"/>
                    <a:pt x="248" y="116"/>
                  </a:cubicBezTo>
                  <a:cubicBezTo>
                    <a:pt x="248" y="93"/>
                    <a:pt x="233" y="76"/>
                    <a:pt x="212" y="76"/>
                  </a:cubicBezTo>
                  <a:cubicBezTo>
                    <a:pt x="208" y="76"/>
                    <a:pt x="208" y="76"/>
                    <a:pt x="208" y="76"/>
                  </a:cubicBezTo>
                  <a:cubicBezTo>
                    <a:pt x="208" y="72"/>
                    <a:pt x="208" y="72"/>
                    <a:pt x="208" y="72"/>
                  </a:cubicBezTo>
                  <a:cubicBezTo>
                    <a:pt x="208" y="57"/>
                    <a:pt x="200" y="40"/>
                    <a:pt x="176" y="40"/>
                  </a:cubicBezTo>
                  <a:cubicBezTo>
                    <a:pt x="170" y="40"/>
                    <a:pt x="170" y="40"/>
                    <a:pt x="170" y="40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58" y="19"/>
                    <a:pt x="138" y="8"/>
                    <a:pt x="116" y="8"/>
                  </a:cubicBezTo>
                  <a:cubicBezTo>
                    <a:pt x="83" y="8"/>
                    <a:pt x="56" y="35"/>
                    <a:pt x="56" y="6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8" y="72"/>
                    <a:pt x="8" y="92"/>
                    <a:pt x="8" y="116"/>
                  </a:cubicBezTo>
                  <a:cubicBezTo>
                    <a:pt x="8" y="140"/>
                    <a:pt x="28" y="160"/>
                    <a:pt x="5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68"/>
                    <a:pt x="84" y="168"/>
                    <a:pt x="84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23" y="168"/>
                    <a:pt x="0" y="145"/>
                    <a:pt x="0" y="116"/>
                  </a:cubicBezTo>
                  <a:cubicBezTo>
                    <a:pt x="0" y="89"/>
                    <a:pt x="21" y="66"/>
                    <a:pt x="48" y="64"/>
                  </a:cubicBezTo>
                  <a:cubicBezTo>
                    <a:pt x="50" y="28"/>
                    <a:pt x="80" y="0"/>
                    <a:pt x="116" y="0"/>
                  </a:cubicBezTo>
                  <a:cubicBezTo>
                    <a:pt x="141" y="0"/>
                    <a:pt x="162" y="12"/>
                    <a:pt x="174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99" y="32"/>
                    <a:pt x="214" y="46"/>
                    <a:pt x="216" y="68"/>
                  </a:cubicBezTo>
                  <a:cubicBezTo>
                    <a:pt x="239" y="70"/>
                    <a:pt x="256" y="90"/>
                    <a:pt x="256" y="116"/>
                  </a:cubicBezTo>
                  <a:cubicBezTo>
                    <a:pt x="256" y="145"/>
                    <a:pt x="233" y="168"/>
                    <a:pt x="204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reeform 128"/>
            <p:cNvSpPr>
              <a:spLocks noEditPoints="1"/>
            </p:cNvSpPr>
            <p:nvPr/>
          </p:nvSpPr>
          <p:spPr bwMode="auto">
            <a:xfrm>
              <a:off x="279400" y="171450"/>
              <a:ext cx="547687" cy="54768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reeform 129"/>
            <p:cNvSpPr>
              <a:spLocks noEditPoints="1"/>
            </p:cNvSpPr>
            <p:nvPr/>
          </p:nvSpPr>
          <p:spPr bwMode="auto">
            <a:xfrm>
              <a:off x="365125" y="257175"/>
              <a:ext cx="376237" cy="376238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reeform 130"/>
            <p:cNvSpPr>
              <a:spLocks/>
            </p:cNvSpPr>
            <p:nvPr/>
          </p:nvSpPr>
          <p:spPr bwMode="auto">
            <a:xfrm>
              <a:off x="450850" y="342900"/>
              <a:ext cx="103187" cy="103188"/>
            </a:xfrm>
            <a:custGeom>
              <a:avLst/>
              <a:gdLst>
                <a:gd name="T0" fmla="*/ 8 w 24"/>
                <a:gd name="T1" fmla="*/ 24 h 24"/>
                <a:gd name="T2" fmla="*/ 0 w 24"/>
                <a:gd name="T3" fmla="*/ 24 h 24"/>
                <a:gd name="T4" fmla="*/ 24 w 24"/>
                <a:gd name="T5" fmla="*/ 0 h 24"/>
                <a:gd name="T6" fmla="*/ 24 w 24"/>
                <a:gd name="T7" fmla="*/ 8 h 24"/>
                <a:gd name="T8" fmla="*/ 8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8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reeform 131"/>
            <p:cNvSpPr>
              <a:spLocks/>
            </p:cNvSpPr>
            <p:nvPr/>
          </p:nvSpPr>
          <p:spPr bwMode="auto">
            <a:xfrm>
              <a:off x="468313" y="685800"/>
              <a:ext cx="169862" cy="411163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76 h 96"/>
                <a:gd name="T4" fmla="*/ 0 w 40"/>
                <a:gd name="T5" fmla="*/ 0 h 96"/>
                <a:gd name="T6" fmla="*/ 8 w 40"/>
                <a:gd name="T7" fmla="*/ 0 h 96"/>
                <a:gd name="T8" fmla="*/ 8 w 40"/>
                <a:gd name="T9" fmla="*/ 76 h 96"/>
                <a:gd name="T10" fmla="*/ 20 w 40"/>
                <a:gd name="T11" fmla="*/ 88 h 96"/>
                <a:gd name="T12" fmla="*/ 32 w 40"/>
                <a:gd name="T13" fmla="*/ 76 h 96"/>
                <a:gd name="T14" fmla="*/ 32 w 40"/>
                <a:gd name="T15" fmla="*/ 0 h 96"/>
                <a:gd name="T16" fmla="*/ 40 w 40"/>
                <a:gd name="T17" fmla="*/ 0 h 96"/>
                <a:gd name="T18" fmla="*/ 40 w 40"/>
                <a:gd name="T19" fmla="*/ 76 h 96"/>
                <a:gd name="T20" fmla="*/ 20 w 40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9" y="96"/>
                    <a:pt x="0" y="87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83"/>
                    <a:pt x="13" y="88"/>
                    <a:pt x="20" y="88"/>
                  </a:cubicBezTo>
                  <a:cubicBezTo>
                    <a:pt x="27" y="88"/>
                    <a:pt x="32" y="83"/>
                    <a:pt x="32" y="7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87"/>
                    <a:pt x="31" y="96"/>
                    <a:pt x="2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Rectangle 132"/>
            <p:cNvSpPr>
              <a:spLocks noChangeArrowheads="1"/>
            </p:cNvSpPr>
            <p:nvPr/>
          </p:nvSpPr>
          <p:spPr bwMode="auto">
            <a:xfrm>
              <a:off x="536575" y="8223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Rectangle 133"/>
            <p:cNvSpPr>
              <a:spLocks noChangeArrowheads="1"/>
            </p:cNvSpPr>
            <p:nvPr/>
          </p:nvSpPr>
          <p:spPr bwMode="auto">
            <a:xfrm>
              <a:off x="536575" y="89058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Rectangle 134"/>
            <p:cNvSpPr>
              <a:spLocks noChangeArrowheads="1"/>
            </p:cNvSpPr>
            <p:nvPr/>
          </p:nvSpPr>
          <p:spPr bwMode="auto">
            <a:xfrm>
              <a:off x="536575" y="95885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179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Model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dot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889D3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odelo preditivo por área geográfica e ocupação para a predição à partir da base do CAGED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Databricks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versã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omunidadepar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lidar com o volume de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entrega final seria uma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pi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que consulta um algoritmo de priorização de vagas e entrega resultado para trabalhadores, empregadores e stakeholder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bandon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formações sobre o seguro desemprego, por serem dados agregados não contribuem para construção do model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da RAIS: entendemos que o CAGED de 2019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ssui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s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necessárias para a modelagem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CAGED 2020: Poucas informações e dados fortemente impactados pela Covid-19</a:t>
            </a:r>
          </a:p>
        </p:txBody>
      </p:sp>
      <p:pic>
        <p:nvPicPr>
          <p:cNvPr id="7" name="Gráfico 6" descr="Aspiração">
            <a:extLst>
              <a:ext uri="{FF2B5EF4-FFF2-40B4-BE49-F238E27FC236}">
                <a16:creationId xmlns:a16="http://schemas.microsoft.com/office/drawing/2014/main" id="{7993A122-DBF1-425F-B85E-AFF06138D0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998825" y="2631562"/>
            <a:ext cx="536575" cy="536575"/>
          </a:xfrm>
          <a:prstGeom prst="rect">
            <a:avLst/>
          </a:prstGeom>
        </p:spPr>
      </p:pic>
      <p:pic>
        <p:nvPicPr>
          <p:cNvPr id="27" name="Gráfico 26" descr="Desconectado">
            <a:extLst>
              <a:ext uri="{FF2B5EF4-FFF2-40B4-BE49-F238E27FC236}">
                <a16:creationId xmlns:a16="http://schemas.microsoft.com/office/drawing/2014/main" id="{BA798ADB-3058-4659-B846-31A12A3E4E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267112" y="5870360"/>
            <a:ext cx="634899" cy="634899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as bases do SINE tanto de vagas como de trabalhadores para treinar um modelo de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achine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learning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91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09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20">
            <a:extLst>
              <a:ext uri="{FF2B5EF4-FFF2-40B4-BE49-F238E27FC236}">
                <a16:creationId xmlns:a16="http://schemas.microsoft.com/office/drawing/2014/main" id="{E232380F-1979-4DAD-B08F-F8618207C636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713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usca inicial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rabalhadores têm dificuldade em escolher os objetivos profissionai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areament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cruzamento pela CBO é complexo e, com frequência, pouco assertiv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s trabalhadores só conseguem visualizar as vagas disponíveis se houver pareamento de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BOs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inclusive no caso de vagas que não exigem experiência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mpresas têm dificuldades para encontrar candidatos com deficiência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cesso seletiv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99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20">
            <a:extLst>
              <a:ext uri="{FF2B5EF4-FFF2-40B4-BE49-F238E27FC236}">
                <a16:creationId xmlns:a16="http://schemas.microsoft.com/office/drawing/2014/main" id="{E232380F-1979-4DAD-B08F-F8618207C636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713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isponibiliz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via Flask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usca inicial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rabalhadores têm dificuldade em escolher os objetivos profissionai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areament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cruzamento pela CBO é complexo e, com frequência, pouco assertiv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s trabalhadores só conseguem visualizar as vagas disponíveis se houver pareamento de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BOs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inclusive no caso de vagas que não exigem experiência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mpresas têm dificuldades para encontrar candidatos com deficiência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cesso seletiv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F57A7B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115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elas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3482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061359"/>
          </a:xfrm>
          <a:prstGeom prst="rect">
            <a:avLst/>
          </a:prstGeom>
          <a:solidFill>
            <a:srgbClr val="A8AF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7" name="Triângulo Retângulo 16"/>
          <p:cNvSpPr/>
          <p:nvPr/>
        </p:nvSpPr>
        <p:spPr>
          <a:xfrm flipH="1">
            <a:off x="1461147" y="10814553"/>
            <a:ext cx="894711" cy="894711"/>
          </a:xfrm>
          <a:prstGeom prst="rtTriangle">
            <a:avLst/>
          </a:prstGeom>
          <a:solidFill>
            <a:srgbClr val="ECC5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2879610" y="6268873"/>
            <a:ext cx="0" cy="7160279"/>
          </a:xfrm>
          <a:prstGeom prst="line">
            <a:avLst/>
          </a:prstGeom>
          <a:ln w="38100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031970" y="5143937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" name="Retângulo 20"/>
          <p:cNvSpPr/>
          <p:nvPr/>
        </p:nvSpPr>
        <p:spPr>
          <a:xfrm rot="2700000">
            <a:off x="2309605" y="5581687"/>
            <a:ext cx="459112" cy="459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ângulo 21"/>
          <p:cNvSpPr/>
          <p:nvPr/>
        </p:nvSpPr>
        <p:spPr>
          <a:xfrm rot="2700000">
            <a:off x="3195627" y="6630126"/>
            <a:ext cx="222888" cy="22288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693677" y="4754874"/>
            <a:ext cx="1170127" cy="830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799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665390" y="7388774"/>
            <a:ext cx="1170127" cy="523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99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1979337" y="8206842"/>
            <a:ext cx="1170127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6" name="Forma Livre: Forma 25"/>
          <p:cNvSpPr/>
          <p:nvPr/>
        </p:nvSpPr>
        <p:spPr>
          <a:xfrm>
            <a:off x="2174393" y="9893970"/>
            <a:ext cx="171405" cy="757993"/>
          </a:xfrm>
          <a:custGeom>
            <a:avLst/>
            <a:gdLst>
              <a:gd name="connsiteX0" fmla="*/ 80010 w 85725"/>
              <a:gd name="connsiteY0" fmla="*/ 0 h 379095"/>
              <a:gd name="connsiteX1" fmla="*/ 0 w 85725"/>
              <a:gd name="connsiteY1" fmla="*/ 55245 h 379095"/>
              <a:gd name="connsiteX2" fmla="*/ 83820 w 85725"/>
              <a:gd name="connsiteY2" fmla="*/ 112395 h 379095"/>
              <a:gd name="connsiteX3" fmla="*/ 5715 w 85725"/>
              <a:gd name="connsiteY3" fmla="*/ 169545 h 379095"/>
              <a:gd name="connsiteX4" fmla="*/ 85725 w 85725"/>
              <a:gd name="connsiteY4" fmla="*/ 219075 h 379095"/>
              <a:gd name="connsiteX5" fmla="*/ 3810 w 85725"/>
              <a:gd name="connsiteY5" fmla="*/ 274320 h 379095"/>
              <a:gd name="connsiteX6" fmla="*/ 81915 w 85725"/>
              <a:gd name="connsiteY6" fmla="*/ 321945 h 379095"/>
              <a:gd name="connsiteX7" fmla="*/ 5715 w 85725"/>
              <a:gd name="connsiteY7" fmla="*/ 379095 h 37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725" h="379095">
                <a:moveTo>
                  <a:pt x="80010" y="0"/>
                </a:moveTo>
                <a:lnTo>
                  <a:pt x="0" y="55245"/>
                </a:lnTo>
                <a:lnTo>
                  <a:pt x="83820" y="112395"/>
                </a:lnTo>
                <a:lnTo>
                  <a:pt x="5715" y="169545"/>
                </a:lnTo>
                <a:lnTo>
                  <a:pt x="85725" y="219075"/>
                </a:lnTo>
                <a:lnTo>
                  <a:pt x="3810" y="274320"/>
                </a:lnTo>
                <a:lnTo>
                  <a:pt x="81915" y="321945"/>
                </a:lnTo>
                <a:lnTo>
                  <a:pt x="5715" y="379095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298325" y="5296013"/>
            <a:ext cx="16771579" cy="2613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0" i="0" u="none" strike="noStrike" kern="1200" cap="none" spc="1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MPLATE PARA </a:t>
            </a:r>
          </a:p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9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RESENTAÇÕES DE </a:t>
            </a:r>
            <a:r>
              <a:rPr kumimoji="0" lang="pt-BR" sz="7998" b="1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CNOLOGIA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804475" y="3123165"/>
            <a:ext cx="1170127" cy="156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598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30" name="Retângulo 29"/>
          <p:cNvSpPr/>
          <p:nvPr/>
        </p:nvSpPr>
        <p:spPr>
          <a:xfrm rot="2700000">
            <a:off x="3144944" y="2984822"/>
            <a:ext cx="639463" cy="639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4" name="Agrupar 123"/>
          <p:cNvGrpSpPr/>
          <p:nvPr/>
        </p:nvGrpSpPr>
        <p:grpSpPr>
          <a:xfrm>
            <a:off x="5697164" y="10230096"/>
            <a:ext cx="1991393" cy="1252616"/>
            <a:chOff x="2849324" y="5115487"/>
            <a:chExt cx="995956" cy="626471"/>
          </a:xfrm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3205390" y="5319838"/>
              <a:ext cx="181646" cy="184742"/>
            </a:xfrm>
            <a:custGeom>
              <a:avLst/>
              <a:gdLst>
                <a:gd name="T0" fmla="*/ 6 w 66"/>
                <a:gd name="T1" fmla="*/ 67 h 67"/>
                <a:gd name="T2" fmla="*/ 3 w 66"/>
                <a:gd name="T3" fmla="*/ 66 h 67"/>
                <a:gd name="T4" fmla="*/ 0 w 66"/>
                <a:gd name="T5" fmla="*/ 61 h 67"/>
                <a:gd name="T6" fmla="*/ 0 w 66"/>
                <a:gd name="T7" fmla="*/ 6 h 67"/>
                <a:gd name="T8" fmla="*/ 3 w 66"/>
                <a:gd name="T9" fmla="*/ 1 h 67"/>
                <a:gd name="T10" fmla="*/ 8 w 66"/>
                <a:gd name="T11" fmla="*/ 1 h 67"/>
                <a:gd name="T12" fmla="*/ 63 w 66"/>
                <a:gd name="T13" fmla="*/ 28 h 67"/>
                <a:gd name="T14" fmla="*/ 66 w 66"/>
                <a:gd name="T15" fmla="*/ 34 h 67"/>
                <a:gd name="T16" fmla="*/ 63 w 66"/>
                <a:gd name="T17" fmla="*/ 39 h 67"/>
                <a:gd name="T18" fmla="*/ 8 w 66"/>
                <a:gd name="T19" fmla="*/ 66 h 67"/>
                <a:gd name="T20" fmla="*/ 6 w 66"/>
                <a:gd name="T21" fmla="*/ 67 h 67"/>
                <a:gd name="T22" fmla="*/ 12 w 66"/>
                <a:gd name="T23" fmla="*/ 16 h 67"/>
                <a:gd name="T24" fmla="*/ 12 w 66"/>
                <a:gd name="T25" fmla="*/ 51 h 67"/>
                <a:gd name="T26" fmla="*/ 47 w 66"/>
                <a:gd name="T27" fmla="*/ 34 h 67"/>
                <a:gd name="T28" fmla="*/ 12 w 66"/>
                <a:gd name="T29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7">
                  <a:moveTo>
                    <a:pt x="6" y="67"/>
                  </a:moveTo>
                  <a:cubicBezTo>
                    <a:pt x="5" y="67"/>
                    <a:pt x="4" y="66"/>
                    <a:pt x="3" y="66"/>
                  </a:cubicBezTo>
                  <a:cubicBezTo>
                    <a:pt x="1" y="65"/>
                    <a:pt x="0" y="63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9"/>
                    <a:pt x="66" y="31"/>
                    <a:pt x="66" y="34"/>
                  </a:cubicBezTo>
                  <a:cubicBezTo>
                    <a:pt x="66" y="36"/>
                    <a:pt x="65" y="38"/>
                    <a:pt x="63" y="3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7"/>
                    <a:pt x="7" y="67"/>
                    <a:pt x="6" y="67"/>
                  </a:cubicBezTo>
                  <a:close/>
                  <a:moveTo>
                    <a:pt x="12" y="16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47" y="34"/>
                    <a:pt x="47" y="34"/>
                    <a:pt x="47" y="34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2849324" y="5115487"/>
              <a:ext cx="852497" cy="519136"/>
            </a:xfrm>
            <a:custGeom>
              <a:avLst/>
              <a:gdLst>
                <a:gd name="T0" fmla="*/ 303 w 309"/>
                <a:gd name="T1" fmla="*/ 188 h 188"/>
                <a:gd name="T2" fmla="*/ 6 w 309"/>
                <a:gd name="T3" fmla="*/ 188 h 188"/>
                <a:gd name="T4" fmla="*/ 0 w 309"/>
                <a:gd name="T5" fmla="*/ 182 h 188"/>
                <a:gd name="T6" fmla="*/ 0 w 309"/>
                <a:gd name="T7" fmla="*/ 17 h 188"/>
                <a:gd name="T8" fmla="*/ 17 w 309"/>
                <a:gd name="T9" fmla="*/ 0 h 188"/>
                <a:gd name="T10" fmla="*/ 293 w 309"/>
                <a:gd name="T11" fmla="*/ 0 h 188"/>
                <a:gd name="T12" fmla="*/ 309 w 309"/>
                <a:gd name="T13" fmla="*/ 17 h 188"/>
                <a:gd name="T14" fmla="*/ 309 w 309"/>
                <a:gd name="T15" fmla="*/ 182 h 188"/>
                <a:gd name="T16" fmla="*/ 303 w 309"/>
                <a:gd name="T17" fmla="*/ 188 h 188"/>
                <a:gd name="T18" fmla="*/ 12 w 309"/>
                <a:gd name="T19" fmla="*/ 176 h 188"/>
                <a:gd name="T20" fmla="*/ 297 w 309"/>
                <a:gd name="T21" fmla="*/ 176 h 188"/>
                <a:gd name="T22" fmla="*/ 297 w 309"/>
                <a:gd name="T23" fmla="*/ 17 h 188"/>
                <a:gd name="T24" fmla="*/ 293 w 309"/>
                <a:gd name="T25" fmla="*/ 12 h 188"/>
                <a:gd name="T26" fmla="*/ 17 w 309"/>
                <a:gd name="T27" fmla="*/ 12 h 188"/>
                <a:gd name="T28" fmla="*/ 12 w 309"/>
                <a:gd name="T29" fmla="*/ 17 h 188"/>
                <a:gd name="T30" fmla="*/ 12 w 309"/>
                <a:gd name="T31" fmla="*/ 17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88">
                  <a:moveTo>
                    <a:pt x="303" y="188"/>
                  </a:moveTo>
                  <a:cubicBezTo>
                    <a:pt x="6" y="188"/>
                    <a:pt x="6" y="188"/>
                    <a:pt x="6" y="188"/>
                  </a:cubicBezTo>
                  <a:cubicBezTo>
                    <a:pt x="3" y="188"/>
                    <a:pt x="0" y="186"/>
                    <a:pt x="0" y="18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302" y="0"/>
                    <a:pt x="309" y="8"/>
                    <a:pt x="309" y="17"/>
                  </a:cubicBezTo>
                  <a:cubicBezTo>
                    <a:pt x="309" y="182"/>
                    <a:pt x="309" y="182"/>
                    <a:pt x="309" y="182"/>
                  </a:cubicBezTo>
                  <a:cubicBezTo>
                    <a:pt x="309" y="186"/>
                    <a:pt x="307" y="188"/>
                    <a:pt x="303" y="188"/>
                  </a:cubicBezTo>
                  <a:close/>
                  <a:moveTo>
                    <a:pt x="12" y="176"/>
                  </a:moveTo>
                  <a:cubicBezTo>
                    <a:pt x="297" y="176"/>
                    <a:pt x="297" y="176"/>
                    <a:pt x="297" y="176"/>
                  </a:cubicBezTo>
                  <a:cubicBezTo>
                    <a:pt x="297" y="17"/>
                    <a:pt x="297" y="17"/>
                    <a:pt x="297" y="17"/>
                  </a:cubicBezTo>
                  <a:cubicBezTo>
                    <a:pt x="297" y="14"/>
                    <a:pt x="295" y="12"/>
                    <a:pt x="293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2" y="14"/>
                    <a:pt x="12" y="17"/>
                  </a:cubicBezTo>
                  <a:lnTo>
                    <a:pt x="12" y="1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2940147" y="5601595"/>
              <a:ext cx="905133" cy="140363"/>
            </a:xfrm>
            <a:custGeom>
              <a:avLst/>
              <a:gdLst>
                <a:gd name="T0" fmla="*/ 322 w 328"/>
                <a:gd name="T1" fmla="*/ 51 h 51"/>
                <a:gd name="T2" fmla="*/ 6 w 328"/>
                <a:gd name="T3" fmla="*/ 51 h 51"/>
                <a:gd name="T4" fmla="*/ 0 w 328"/>
                <a:gd name="T5" fmla="*/ 45 h 51"/>
                <a:gd name="T6" fmla="*/ 0 w 328"/>
                <a:gd name="T7" fmla="*/ 6 h 51"/>
                <a:gd name="T8" fmla="*/ 6 w 328"/>
                <a:gd name="T9" fmla="*/ 0 h 51"/>
                <a:gd name="T10" fmla="*/ 322 w 328"/>
                <a:gd name="T11" fmla="*/ 0 h 51"/>
                <a:gd name="T12" fmla="*/ 328 w 328"/>
                <a:gd name="T13" fmla="*/ 6 h 51"/>
                <a:gd name="T14" fmla="*/ 328 w 328"/>
                <a:gd name="T15" fmla="*/ 45 h 51"/>
                <a:gd name="T16" fmla="*/ 322 w 328"/>
                <a:gd name="T17" fmla="*/ 51 h 51"/>
                <a:gd name="T18" fmla="*/ 12 w 328"/>
                <a:gd name="T19" fmla="*/ 39 h 51"/>
                <a:gd name="T20" fmla="*/ 316 w 328"/>
                <a:gd name="T21" fmla="*/ 39 h 51"/>
                <a:gd name="T22" fmla="*/ 316 w 328"/>
                <a:gd name="T23" fmla="*/ 12 h 51"/>
                <a:gd name="T24" fmla="*/ 12 w 328"/>
                <a:gd name="T25" fmla="*/ 12 h 51"/>
                <a:gd name="T26" fmla="*/ 12 w 328"/>
                <a:gd name="T27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8" h="51">
                  <a:moveTo>
                    <a:pt x="322" y="51"/>
                  </a:move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8"/>
                    <a:pt x="0" y="4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5" y="0"/>
                    <a:pt x="328" y="3"/>
                    <a:pt x="328" y="6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28" y="48"/>
                    <a:pt x="325" y="51"/>
                    <a:pt x="322" y="51"/>
                  </a:cubicBezTo>
                  <a:close/>
                  <a:moveTo>
                    <a:pt x="12" y="39"/>
                  </a:moveTo>
                  <a:cubicBezTo>
                    <a:pt x="316" y="39"/>
                    <a:pt x="316" y="39"/>
                    <a:pt x="316" y="39"/>
                  </a:cubicBezTo>
                  <a:cubicBezTo>
                    <a:pt x="316" y="12"/>
                    <a:pt x="316" y="12"/>
                    <a:pt x="31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>
              <a:off x="3004135" y="5656296"/>
              <a:ext cx="771995" cy="34059"/>
            </a:xfrm>
            <a:custGeom>
              <a:avLst/>
              <a:gdLst>
                <a:gd name="T0" fmla="*/ 274 w 280"/>
                <a:gd name="T1" fmla="*/ 12 h 12"/>
                <a:gd name="T2" fmla="*/ 6 w 280"/>
                <a:gd name="T3" fmla="*/ 12 h 12"/>
                <a:gd name="T4" fmla="*/ 0 w 280"/>
                <a:gd name="T5" fmla="*/ 6 h 12"/>
                <a:gd name="T6" fmla="*/ 6 w 280"/>
                <a:gd name="T7" fmla="*/ 0 h 12"/>
                <a:gd name="T8" fmla="*/ 274 w 280"/>
                <a:gd name="T9" fmla="*/ 0 h 12"/>
                <a:gd name="T10" fmla="*/ 280 w 280"/>
                <a:gd name="T11" fmla="*/ 6 h 12"/>
                <a:gd name="T12" fmla="*/ 274 w 2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12">
                  <a:moveTo>
                    <a:pt x="2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8" y="0"/>
                    <a:pt x="280" y="2"/>
                    <a:pt x="280" y="6"/>
                  </a:cubicBezTo>
                  <a:cubicBezTo>
                    <a:pt x="280" y="9"/>
                    <a:pt x="278" y="12"/>
                    <a:pt x="27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2" name="Agrupar 121"/>
          <p:cNvGrpSpPr/>
          <p:nvPr/>
        </p:nvGrpSpPr>
        <p:grpSpPr>
          <a:xfrm>
            <a:off x="8544958" y="11528112"/>
            <a:ext cx="877040" cy="883228"/>
            <a:chOff x="4273592" y="5764664"/>
            <a:chExt cx="438634" cy="441729"/>
          </a:xfrm>
        </p:grpSpPr>
        <p:sp>
          <p:nvSpPr>
            <p:cNvPr id="38" name="Freeform 9"/>
            <p:cNvSpPr>
              <a:spLocks noEditPoints="1"/>
            </p:cNvSpPr>
            <p:nvPr/>
          </p:nvSpPr>
          <p:spPr bwMode="auto">
            <a:xfrm>
              <a:off x="4273592" y="5764664"/>
              <a:ext cx="438634" cy="392190"/>
            </a:xfrm>
            <a:custGeom>
              <a:avLst/>
              <a:gdLst>
                <a:gd name="T0" fmla="*/ 31 w 159"/>
                <a:gd name="T1" fmla="*/ 142 h 142"/>
                <a:gd name="T2" fmla="*/ 27 w 159"/>
                <a:gd name="T3" fmla="*/ 140 h 142"/>
                <a:gd name="T4" fmla="*/ 0 w 159"/>
                <a:gd name="T5" fmla="*/ 80 h 142"/>
                <a:gd name="T6" fmla="*/ 79 w 159"/>
                <a:gd name="T7" fmla="*/ 0 h 142"/>
                <a:gd name="T8" fmla="*/ 159 w 159"/>
                <a:gd name="T9" fmla="*/ 80 h 142"/>
                <a:gd name="T10" fmla="*/ 133 w 159"/>
                <a:gd name="T11" fmla="*/ 139 h 142"/>
                <a:gd name="T12" fmla="*/ 125 w 159"/>
                <a:gd name="T13" fmla="*/ 139 h 142"/>
                <a:gd name="T14" fmla="*/ 99 w 159"/>
                <a:gd name="T15" fmla="*/ 123 h 142"/>
                <a:gd name="T16" fmla="*/ 87 w 159"/>
                <a:gd name="T17" fmla="*/ 108 h 142"/>
                <a:gd name="T18" fmla="*/ 89 w 159"/>
                <a:gd name="T19" fmla="*/ 102 h 142"/>
                <a:gd name="T20" fmla="*/ 99 w 159"/>
                <a:gd name="T21" fmla="*/ 87 h 142"/>
                <a:gd name="T22" fmla="*/ 99 w 159"/>
                <a:gd name="T23" fmla="*/ 56 h 142"/>
                <a:gd name="T24" fmla="*/ 94 w 159"/>
                <a:gd name="T25" fmla="*/ 40 h 142"/>
                <a:gd name="T26" fmla="*/ 81 w 159"/>
                <a:gd name="T27" fmla="*/ 36 h 142"/>
                <a:gd name="T28" fmla="*/ 67 w 159"/>
                <a:gd name="T29" fmla="*/ 40 h 142"/>
                <a:gd name="T30" fmla="*/ 62 w 159"/>
                <a:gd name="T31" fmla="*/ 55 h 142"/>
                <a:gd name="T32" fmla="*/ 62 w 159"/>
                <a:gd name="T33" fmla="*/ 87 h 142"/>
                <a:gd name="T34" fmla="*/ 72 w 159"/>
                <a:gd name="T35" fmla="*/ 102 h 142"/>
                <a:gd name="T36" fmla="*/ 74 w 159"/>
                <a:gd name="T37" fmla="*/ 108 h 142"/>
                <a:gd name="T38" fmla="*/ 62 w 159"/>
                <a:gd name="T39" fmla="*/ 123 h 142"/>
                <a:gd name="T40" fmla="*/ 35 w 159"/>
                <a:gd name="T41" fmla="*/ 140 h 142"/>
                <a:gd name="T42" fmla="*/ 31 w 159"/>
                <a:gd name="T43" fmla="*/ 142 h 142"/>
                <a:gd name="T44" fmla="*/ 79 w 159"/>
                <a:gd name="T45" fmla="*/ 12 h 142"/>
                <a:gd name="T46" fmla="*/ 12 w 159"/>
                <a:gd name="T47" fmla="*/ 80 h 142"/>
                <a:gd name="T48" fmla="*/ 31 w 159"/>
                <a:gd name="T49" fmla="*/ 128 h 142"/>
                <a:gd name="T50" fmla="*/ 57 w 159"/>
                <a:gd name="T51" fmla="*/ 112 h 142"/>
                <a:gd name="T52" fmla="*/ 62 w 159"/>
                <a:gd name="T53" fmla="*/ 109 h 142"/>
                <a:gd name="T54" fmla="*/ 50 w 159"/>
                <a:gd name="T55" fmla="*/ 87 h 142"/>
                <a:gd name="T56" fmla="*/ 50 w 159"/>
                <a:gd name="T57" fmla="*/ 56 h 142"/>
                <a:gd name="T58" fmla="*/ 58 w 159"/>
                <a:gd name="T59" fmla="*/ 32 h 142"/>
                <a:gd name="T60" fmla="*/ 81 w 159"/>
                <a:gd name="T61" fmla="*/ 24 h 142"/>
                <a:gd name="T62" fmla="*/ 103 w 159"/>
                <a:gd name="T63" fmla="*/ 32 h 142"/>
                <a:gd name="T64" fmla="*/ 111 w 159"/>
                <a:gd name="T65" fmla="*/ 56 h 142"/>
                <a:gd name="T66" fmla="*/ 111 w 159"/>
                <a:gd name="T67" fmla="*/ 87 h 142"/>
                <a:gd name="T68" fmla="*/ 100 w 159"/>
                <a:gd name="T69" fmla="*/ 109 h 142"/>
                <a:gd name="T70" fmla="*/ 104 w 159"/>
                <a:gd name="T71" fmla="*/ 112 h 142"/>
                <a:gd name="T72" fmla="*/ 129 w 159"/>
                <a:gd name="T73" fmla="*/ 126 h 142"/>
                <a:gd name="T74" fmla="*/ 147 w 159"/>
                <a:gd name="T75" fmla="*/ 80 h 142"/>
                <a:gd name="T76" fmla="*/ 79 w 159"/>
                <a:gd name="T77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9" h="142">
                  <a:moveTo>
                    <a:pt x="31" y="142"/>
                  </a:moveTo>
                  <a:cubicBezTo>
                    <a:pt x="29" y="142"/>
                    <a:pt x="28" y="141"/>
                    <a:pt x="27" y="140"/>
                  </a:cubicBezTo>
                  <a:cubicBezTo>
                    <a:pt x="10" y="125"/>
                    <a:pt x="0" y="103"/>
                    <a:pt x="0" y="80"/>
                  </a:cubicBezTo>
                  <a:cubicBezTo>
                    <a:pt x="0" y="36"/>
                    <a:pt x="35" y="0"/>
                    <a:pt x="79" y="0"/>
                  </a:cubicBezTo>
                  <a:cubicBezTo>
                    <a:pt x="123" y="0"/>
                    <a:pt x="159" y="36"/>
                    <a:pt x="159" y="80"/>
                  </a:cubicBezTo>
                  <a:cubicBezTo>
                    <a:pt x="159" y="102"/>
                    <a:pt x="150" y="124"/>
                    <a:pt x="133" y="139"/>
                  </a:cubicBezTo>
                  <a:cubicBezTo>
                    <a:pt x="131" y="141"/>
                    <a:pt x="127" y="141"/>
                    <a:pt x="125" y="139"/>
                  </a:cubicBezTo>
                  <a:cubicBezTo>
                    <a:pt x="117" y="131"/>
                    <a:pt x="103" y="125"/>
                    <a:pt x="99" y="123"/>
                  </a:cubicBezTo>
                  <a:cubicBezTo>
                    <a:pt x="92" y="120"/>
                    <a:pt x="88" y="115"/>
                    <a:pt x="87" y="108"/>
                  </a:cubicBezTo>
                  <a:cubicBezTo>
                    <a:pt x="86" y="106"/>
                    <a:pt x="87" y="103"/>
                    <a:pt x="89" y="102"/>
                  </a:cubicBezTo>
                  <a:cubicBezTo>
                    <a:pt x="95" y="98"/>
                    <a:pt x="99" y="91"/>
                    <a:pt x="99" y="87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5"/>
                    <a:pt x="100" y="46"/>
                    <a:pt x="94" y="40"/>
                  </a:cubicBezTo>
                  <a:cubicBezTo>
                    <a:pt x="91" y="37"/>
                    <a:pt x="87" y="36"/>
                    <a:pt x="81" y="36"/>
                  </a:cubicBezTo>
                  <a:cubicBezTo>
                    <a:pt x="75" y="36"/>
                    <a:pt x="70" y="37"/>
                    <a:pt x="67" y="40"/>
                  </a:cubicBezTo>
                  <a:cubicBezTo>
                    <a:pt x="62" y="46"/>
                    <a:pt x="62" y="55"/>
                    <a:pt x="62" y="55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91"/>
                    <a:pt x="66" y="98"/>
                    <a:pt x="72" y="102"/>
                  </a:cubicBezTo>
                  <a:cubicBezTo>
                    <a:pt x="74" y="103"/>
                    <a:pt x="75" y="106"/>
                    <a:pt x="74" y="108"/>
                  </a:cubicBezTo>
                  <a:cubicBezTo>
                    <a:pt x="73" y="115"/>
                    <a:pt x="69" y="120"/>
                    <a:pt x="62" y="123"/>
                  </a:cubicBezTo>
                  <a:cubicBezTo>
                    <a:pt x="50" y="129"/>
                    <a:pt x="41" y="135"/>
                    <a:pt x="35" y="140"/>
                  </a:cubicBezTo>
                  <a:cubicBezTo>
                    <a:pt x="34" y="141"/>
                    <a:pt x="32" y="142"/>
                    <a:pt x="31" y="142"/>
                  </a:cubicBezTo>
                  <a:close/>
                  <a:moveTo>
                    <a:pt x="79" y="12"/>
                  </a:moveTo>
                  <a:cubicBezTo>
                    <a:pt x="42" y="12"/>
                    <a:pt x="12" y="43"/>
                    <a:pt x="12" y="80"/>
                  </a:cubicBezTo>
                  <a:cubicBezTo>
                    <a:pt x="12" y="98"/>
                    <a:pt x="19" y="115"/>
                    <a:pt x="31" y="128"/>
                  </a:cubicBezTo>
                  <a:cubicBezTo>
                    <a:pt x="37" y="122"/>
                    <a:pt x="46" y="117"/>
                    <a:pt x="57" y="112"/>
                  </a:cubicBezTo>
                  <a:cubicBezTo>
                    <a:pt x="59" y="112"/>
                    <a:pt x="61" y="110"/>
                    <a:pt x="62" y="109"/>
                  </a:cubicBezTo>
                  <a:cubicBezTo>
                    <a:pt x="55" y="103"/>
                    <a:pt x="50" y="94"/>
                    <a:pt x="50" y="8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49" y="42"/>
                    <a:pt x="58" y="32"/>
                  </a:cubicBezTo>
                  <a:cubicBezTo>
                    <a:pt x="64" y="26"/>
                    <a:pt x="71" y="24"/>
                    <a:pt x="81" y="24"/>
                  </a:cubicBezTo>
                  <a:cubicBezTo>
                    <a:pt x="90" y="24"/>
                    <a:pt x="97" y="26"/>
                    <a:pt x="103" y="32"/>
                  </a:cubicBezTo>
                  <a:cubicBezTo>
                    <a:pt x="112" y="42"/>
                    <a:pt x="111" y="55"/>
                    <a:pt x="111" y="56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94"/>
                    <a:pt x="107" y="103"/>
                    <a:pt x="100" y="109"/>
                  </a:cubicBezTo>
                  <a:cubicBezTo>
                    <a:pt x="101" y="110"/>
                    <a:pt x="102" y="112"/>
                    <a:pt x="104" y="112"/>
                  </a:cubicBezTo>
                  <a:cubicBezTo>
                    <a:pt x="108" y="114"/>
                    <a:pt x="119" y="119"/>
                    <a:pt x="129" y="126"/>
                  </a:cubicBezTo>
                  <a:cubicBezTo>
                    <a:pt x="140" y="114"/>
                    <a:pt x="147" y="97"/>
                    <a:pt x="147" y="80"/>
                  </a:cubicBezTo>
                  <a:cubicBezTo>
                    <a:pt x="147" y="43"/>
                    <a:pt x="117" y="12"/>
                    <a:pt x="7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4341709" y="5830717"/>
              <a:ext cx="303431" cy="375676"/>
            </a:xfrm>
            <a:custGeom>
              <a:avLst/>
              <a:gdLst>
                <a:gd name="T0" fmla="*/ 54 w 110"/>
                <a:gd name="T1" fmla="*/ 136 h 136"/>
                <a:gd name="T2" fmla="*/ 2 w 110"/>
                <a:gd name="T3" fmla="*/ 116 h 136"/>
                <a:gd name="T4" fmla="*/ 0 w 110"/>
                <a:gd name="T5" fmla="*/ 112 h 136"/>
                <a:gd name="T6" fmla="*/ 2 w 110"/>
                <a:gd name="T7" fmla="*/ 108 h 136"/>
                <a:gd name="T8" fmla="*/ 32 w 110"/>
                <a:gd name="T9" fmla="*/ 88 h 136"/>
                <a:gd name="T10" fmla="*/ 37 w 110"/>
                <a:gd name="T11" fmla="*/ 85 h 136"/>
                <a:gd name="T12" fmla="*/ 25 w 110"/>
                <a:gd name="T13" fmla="*/ 63 h 136"/>
                <a:gd name="T14" fmla="*/ 25 w 110"/>
                <a:gd name="T15" fmla="*/ 32 h 136"/>
                <a:gd name="T16" fmla="*/ 33 w 110"/>
                <a:gd name="T17" fmla="*/ 8 h 136"/>
                <a:gd name="T18" fmla="*/ 56 w 110"/>
                <a:gd name="T19" fmla="*/ 0 h 136"/>
                <a:gd name="T20" fmla="*/ 78 w 110"/>
                <a:gd name="T21" fmla="*/ 8 h 136"/>
                <a:gd name="T22" fmla="*/ 86 w 110"/>
                <a:gd name="T23" fmla="*/ 32 h 136"/>
                <a:gd name="T24" fmla="*/ 86 w 110"/>
                <a:gd name="T25" fmla="*/ 63 h 136"/>
                <a:gd name="T26" fmla="*/ 75 w 110"/>
                <a:gd name="T27" fmla="*/ 85 h 136"/>
                <a:gd name="T28" fmla="*/ 79 w 110"/>
                <a:gd name="T29" fmla="*/ 88 h 136"/>
                <a:gd name="T30" fmla="*/ 108 w 110"/>
                <a:gd name="T31" fmla="*/ 106 h 136"/>
                <a:gd name="T32" fmla="*/ 110 w 110"/>
                <a:gd name="T33" fmla="*/ 111 h 136"/>
                <a:gd name="T34" fmla="*/ 108 w 110"/>
                <a:gd name="T35" fmla="*/ 115 h 136"/>
                <a:gd name="T36" fmla="*/ 54 w 110"/>
                <a:gd name="T37" fmla="*/ 136 h 136"/>
                <a:gd name="T38" fmla="*/ 15 w 110"/>
                <a:gd name="T39" fmla="*/ 112 h 136"/>
                <a:gd name="T40" fmla="*/ 54 w 110"/>
                <a:gd name="T41" fmla="*/ 124 h 136"/>
                <a:gd name="T42" fmla="*/ 95 w 110"/>
                <a:gd name="T43" fmla="*/ 111 h 136"/>
                <a:gd name="T44" fmla="*/ 74 w 110"/>
                <a:gd name="T45" fmla="*/ 99 h 136"/>
                <a:gd name="T46" fmla="*/ 62 w 110"/>
                <a:gd name="T47" fmla="*/ 84 h 136"/>
                <a:gd name="T48" fmla="*/ 64 w 110"/>
                <a:gd name="T49" fmla="*/ 78 h 136"/>
                <a:gd name="T50" fmla="*/ 74 w 110"/>
                <a:gd name="T51" fmla="*/ 63 h 136"/>
                <a:gd name="T52" fmla="*/ 74 w 110"/>
                <a:gd name="T53" fmla="*/ 32 h 136"/>
                <a:gd name="T54" fmla="*/ 69 w 110"/>
                <a:gd name="T55" fmla="*/ 16 h 136"/>
                <a:gd name="T56" fmla="*/ 56 w 110"/>
                <a:gd name="T57" fmla="*/ 12 h 136"/>
                <a:gd name="T58" fmla="*/ 42 w 110"/>
                <a:gd name="T59" fmla="*/ 16 h 136"/>
                <a:gd name="T60" fmla="*/ 37 w 110"/>
                <a:gd name="T61" fmla="*/ 31 h 136"/>
                <a:gd name="T62" fmla="*/ 37 w 110"/>
                <a:gd name="T63" fmla="*/ 63 h 136"/>
                <a:gd name="T64" fmla="*/ 47 w 110"/>
                <a:gd name="T65" fmla="*/ 78 h 136"/>
                <a:gd name="T66" fmla="*/ 49 w 110"/>
                <a:gd name="T67" fmla="*/ 84 h 136"/>
                <a:gd name="T68" fmla="*/ 37 w 110"/>
                <a:gd name="T69" fmla="*/ 99 h 136"/>
                <a:gd name="T70" fmla="*/ 15 w 110"/>
                <a:gd name="T7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54" y="136"/>
                  </a:moveTo>
                  <a:cubicBezTo>
                    <a:pt x="35" y="136"/>
                    <a:pt x="16" y="129"/>
                    <a:pt x="2" y="116"/>
                  </a:cubicBezTo>
                  <a:cubicBezTo>
                    <a:pt x="1" y="115"/>
                    <a:pt x="0" y="114"/>
                    <a:pt x="0" y="112"/>
                  </a:cubicBezTo>
                  <a:cubicBezTo>
                    <a:pt x="0" y="110"/>
                    <a:pt x="0" y="109"/>
                    <a:pt x="2" y="108"/>
                  </a:cubicBezTo>
                  <a:cubicBezTo>
                    <a:pt x="8" y="101"/>
                    <a:pt x="18" y="95"/>
                    <a:pt x="32" y="88"/>
                  </a:cubicBezTo>
                  <a:cubicBezTo>
                    <a:pt x="34" y="88"/>
                    <a:pt x="36" y="86"/>
                    <a:pt x="37" y="85"/>
                  </a:cubicBezTo>
                  <a:cubicBezTo>
                    <a:pt x="30" y="79"/>
                    <a:pt x="25" y="70"/>
                    <a:pt x="25" y="63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4" y="18"/>
                    <a:pt x="33" y="8"/>
                  </a:cubicBezTo>
                  <a:cubicBezTo>
                    <a:pt x="39" y="2"/>
                    <a:pt x="46" y="0"/>
                    <a:pt x="56" y="0"/>
                  </a:cubicBezTo>
                  <a:cubicBezTo>
                    <a:pt x="65" y="0"/>
                    <a:pt x="72" y="2"/>
                    <a:pt x="78" y="8"/>
                  </a:cubicBezTo>
                  <a:cubicBezTo>
                    <a:pt x="87" y="18"/>
                    <a:pt x="86" y="31"/>
                    <a:pt x="86" y="3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70"/>
                    <a:pt x="82" y="79"/>
                    <a:pt x="75" y="85"/>
                  </a:cubicBezTo>
                  <a:cubicBezTo>
                    <a:pt x="76" y="86"/>
                    <a:pt x="77" y="88"/>
                    <a:pt x="79" y="88"/>
                  </a:cubicBezTo>
                  <a:cubicBezTo>
                    <a:pt x="84" y="91"/>
                    <a:pt x="98" y="97"/>
                    <a:pt x="108" y="106"/>
                  </a:cubicBezTo>
                  <a:cubicBezTo>
                    <a:pt x="109" y="107"/>
                    <a:pt x="110" y="109"/>
                    <a:pt x="110" y="111"/>
                  </a:cubicBezTo>
                  <a:cubicBezTo>
                    <a:pt x="110" y="112"/>
                    <a:pt x="109" y="114"/>
                    <a:pt x="108" y="115"/>
                  </a:cubicBezTo>
                  <a:cubicBezTo>
                    <a:pt x="93" y="128"/>
                    <a:pt x="74" y="136"/>
                    <a:pt x="54" y="136"/>
                  </a:cubicBezTo>
                  <a:close/>
                  <a:moveTo>
                    <a:pt x="15" y="112"/>
                  </a:moveTo>
                  <a:cubicBezTo>
                    <a:pt x="27" y="120"/>
                    <a:pt x="40" y="124"/>
                    <a:pt x="54" y="124"/>
                  </a:cubicBezTo>
                  <a:cubicBezTo>
                    <a:pt x="69" y="124"/>
                    <a:pt x="83" y="119"/>
                    <a:pt x="95" y="111"/>
                  </a:cubicBezTo>
                  <a:cubicBezTo>
                    <a:pt x="87" y="105"/>
                    <a:pt x="77" y="101"/>
                    <a:pt x="74" y="99"/>
                  </a:cubicBezTo>
                  <a:cubicBezTo>
                    <a:pt x="67" y="96"/>
                    <a:pt x="63" y="91"/>
                    <a:pt x="62" y="84"/>
                  </a:cubicBezTo>
                  <a:cubicBezTo>
                    <a:pt x="61" y="82"/>
                    <a:pt x="62" y="79"/>
                    <a:pt x="64" y="78"/>
                  </a:cubicBezTo>
                  <a:cubicBezTo>
                    <a:pt x="70" y="74"/>
                    <a:pt x="74" y="67"/>
                    <a:pt x="74" y="63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5" y="22"/>
                    <a:pt x="69" y="16"/>
                  </a:cubicBezTo>
                  <a:cubicBezTo>
                    <a:pt x="66" y="13"/>
                    <a:pt x="62" y="12"/>
                    <a:pt x="56" y="12"/>
                  </a:cubicBezTo>
                  <a:cubicBezTo>
                    <a:pt x="50" y="12"/>
                    <a:pt x="45" y="13"/>
                    <a:pt x="42" y="16"/>
                  </a:cubicBezTo>
                  <a:cubicBezTo>
                    <a:pt x="37" y="22"/>
                    <a:pt x="37" y="31"/>
                    <a:pt x="37" y="31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7"/>
                    <a:pt x="41" y="74"/>
                    <a:pt x="47" y="78"/>
                  </a:cubicBezTo>
                  <a:cubicBezTo>
                    <a:pt x="49" y="79"/>
                    <a:pt x="50" y="82"/>
                    <a:pt x="49" y="84"/>
                  </a:cubicBezTo>
                  <a:cubicBezTo>
                    <a:pt x="48" y="91"/>
                    <a:pt x="44" y="96"/>
                    <a:pt x="37" y="99"/>
                  </a:cubicBezTo>
                  <a:cubicBezTo>
                    <a:pt x="28" y="103"/>
                    <a:pt x="21" y="108"/>
                    <a:pt x="15" y="1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9" name="Agrupar 118"/>
          <p:cNvGrpSpPr/>
          <p:nvPr/>
        </p:nvGrpSpPr>
        <p:grpSpPr>
          <a:xfrm>
            <a:off x="4477564" y="8628728"/>
            <a:ext cx="945138" cy="1403260"/>
            <a:chOff x="2239365" y="4314594"/>
            <a:chExt cx="472692" cy="701813"/>
          </a:xfrm>
        </p:grpSpPr>
        <p:sp>
          <p:nvSpPr>
            <p:cNvPr id="40" name="Freeform 11"/>
            <p:cNvSpPr>
              <a:spLocks noEditPoints="1"/>
            </p:cNvSpPr>
            <p:nvPr/>
          </p:nvSpPr>
          <p:spPr bwMode="auto">
            <a:xfrm>
              <a:off x="2526283" y="4314594"/>
              <a:ext cx="185774" cy="187838"/>
            </a:xfrm>
            <a:custGeom>
              <a:avLst/>
              <a:gdLst>
                <a:gd name="T0" fmla="*/ 61 w 67"/>
                <a:gd name="T1" fmla="*/ 68 h 68"/>
                <a:gd name="T2" fmla="*/ 6 w 67"/>
                <a:gd name="T3" fmla="*/ 68 h 68"/>
                <a:gd name="T4" fmla="*/ 0 w 67"/>
                <a:gd name="T5" fmla="*/ 62 h 68"/>
                <a:gd name="T6" fmla="*/ 0 w 67"/>
                <a:gd name="T7" fmla="*/ 6 h 68"/>
                <a:gd name="T8" fmla="*/ 3 w 67"/>
                <a:gd name="T9" fmla="*/ 1 h 68"/>
                <a:gd name="T10" fmla="*/ 10 w 67"/>
                <a:gd name="T11" fmla="*/ 2 h 68"/>
                <a:gd name="T12" fmla="*/ 65 w 67"/>
                <a:gd name="T13" fmla="*/ 57 h 68"/>
                <a:gd name="T14" fmla="*/ 67 w 67"/>
                <a:gd name="T15" fmla="*/ 64 h 68"/>
                <a:gd name="T16" fmla="*/ 61 w 67"/>
                <a:gd name="T17" fmla="*/ 68 h 68"/>
                <a:gd name="T18" fmla="*/ 12 w 67"/>
                <a:gd name="T19" fmla="*/ 56 h 68"/>
                <a:gd name="T20" fmla="*/ 47 w 67"/>
                <a:gd name="T21" fmla="*/ 56 h 68"/>
                <a:gd name="T22" fmla="*/ 12 w 67"/>
                <a:gd name="T23" fmla="*/ 21 h 68"/>
                <a:gd name="T24" fmla="*/ 12 w 67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8">
                  <a:moveTo>
                    <a:pt x="61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2" y="68"/>
                    <a:pt x="0" y="65"/>
                    <a:pt x="0" y="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6" y="66"/>
                    <a:pt x="63" y="68"/>
                    <a:pt x="61" y="68"/>
                  </a:cubicBezTo>
                  <a:close/>
                  <a:moveTo>
                    <a:pt x="12" y="56"/>
                  </a:moveTo>
                  <a:cubicBezTo>
                    <a:pt x="47" y="56"/>
                    <a:pt x="47" y="56"/>
                    <a:pt x="47" y="56"/>
                  </a:cubicBezTo>
                  <a:cubicBezTo>
                    <a:pt x="12" y="21"/>
                    <a:pt x="12" y="21"/>
                    <a:pt x="12" y="21"/>
                  </a:cubicBezTo>
                  <a:lnTo>
                    <a:pt x="12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239365" y="4314594"/>
              <a:ext cx="472692" cy="582092"/>
            </a:xfrm>
            <a:custGeom>
              <a:avLst/>
              <a:gdLst>
                <a:gd name="T0" fmla="*/ 165 w 171"/>
                <a:gd name="T1" fmla="*/ 211 h 211"/>
                <a:gd name="T2" fmla="*/ 136 w 171"/>
                <a:gd name="T3" fmla="*/ 211 h 211"/>
                <a:gd name="T4" fmla="*/ 130 w 171"/>
                <a:gd name="T5" fmla="*/ 205 h 211"/>
                <a:gd name="T6" fmla="*/ 136 w 171"/>
                <a:gd name="T7" fmla="*/ 199 h 211"/>
                <a:gd name="T8" fmla="*/ 159 w 171"/>
                <a:gd name="T9" fmla="*/ 199 h 211"/>
                <a:gd name="T10" fmla="*/ 159 w 171"/>
                <a:gd name="T11" fmla="*/ 64 h 211"/>
                <a:gd name="T12" fmla="*/ 107 w 171"/>
                <a:gd name="T13" fmla="*/ 12 h 211"/>
                <a:gd name="T14" fmla="*/ 12 w 171"/>
                <a:gd name="T15" fmla="*/ 12 h 211"/>
                <a:gd name="T16" fmla="*/ 12 w 171"/>
                <a:gd name="T17" fmla="*/ 199 h 211"/>
                <a:gd name="T18" fmla="*/ 29 w 171"/>
                <a:gd name="T19" fmla="*/ 199 h 211"/>
                <a:gd name="T20" fmla="*/ 35 w 171"/>
                <a:gd name="T21" fmla="*/ 205 h 211"/>
                <a:gd name="T22" fmla="*/ 29 w 171"/>
                <a:gd name="T23" fmla="*/ 211 h 211"/>
                <a:gd name="T24" fmla="*/ 6 w 171"/>
                <a:gd name="T25" fmla="*/ 211 h 211"/>
                <a:gd name="T26" fmla="*/ 0 w 171"/>
                <a:gd name="T27" fmla="*/ 205 h 211"/>
                <a:gd name="T28" fmla="*/ 0 w 171"/>
                <a:gd name="T29" fmla="*/ 6 h 211"/>
                <a:gd name="T30" fmla="*/ 6 w 171"/>
                <a:gd name="T31" fmla="*/ 0 h 211"/>
                <a:gd name="T32" fmla="*/ 110 w 171"/>
                <a:gd name="T33" fmla="*/ 0 h 211"/>
                <a:gd name="T34" fmla="*/ 114 w 171"/>
                <a:gd name="T35" fmla="*/ 2 h 211"/>
                <a:gd name="T36" fmla="*/ 169 w 171"/>
                <a:gd name="T37" fmla="*/ 57 h 211"/>
                <a:gd name="T38" fmla="*/ 171 w 171"/>
                <a:gd name="T39" fmla="*/ 62 h 211"/>
                <a:gd name="T40" fmla="*/ 171 w 171"/>
                <a:gd name="T41" fmla="*/ 205 h 211"/>
                <a:gd name="T42" fmla="*/ 165 w 171"/>
                <a:gd name="T4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1" h="211">
                  <a:moveTo>
                    <a:pt x="165" y="211"/>
                  </a:moveTo>
                  <a:cubicBezTo>
                    <a:pt x="136" y="211"/>
                    <a:pt x="136" y="211"/>
                    <a:pt x="136" y="211"/>
                  </a:cubicBezTo>
                  <a:cubicBezTo>
                    <a:pt x="132" y="211"/>
                    <a:pt x="130" y="209"/>
                    <a:pt x="130" y="205"/>
                  </a:cubicBezTo>
                  <a:cubicBezTo>
                    <a:pt x="130" y="202"/>
                    <a:pt x="132" y="199"/>
                    <a:pt x="136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9"/>
                    <a:pt x="12" y="199"/>
                    <a:pt x="12" y="19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32" y="199"/>
                    <a:pt x="35" y="202"/>
                    <a:pt x="35" y="205"/>
                  </a:cubicBezTo>
                  <a:cubicBezTo>
                    <a:pt x="35" y="209"/>
                    <a:pt x="32" y="211"/>
                    <a:pt x="29" y="211"/>
                  </a:cubicBezTo>
                  <a:cubicBezTo>
                    <a:pt x="6" y="211"/>
                    <a:pt x="6" y="211"/>
                    <a:pt x="6" y="211"/>
                  </a:cubicBezTo>
                  <a:cubicBezTo>
                    <a:pt x="3" y="211"/>
                    <a:pt x="0" y="209"/>
                    <a:pt x="0" y="20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3" y="1"/>
                    <a:pt x="114" y="2"/>
                  </a:cubicBezTo>
                  <a:cubicBezTo>
                    <a:pt x="169" y="57"/>
                    <a:pt x="169" y="57"/>
                    <a:pt x="169" y="57"/>
                  </a:cubicBezTo>
                  <a:cubicBezTo>
                    <a:pt x="170" y="59"/>
                    <a:pt x="171" y="60"/>
                    <a:pt x="171" y="62"/>
                  </a:cubicBezTo>
                  <a:cubicBezTo>
                    <a:pt x="171" y="205"/>
                    <a:pt x="171" y="205"/>
                    <a:pt x="171" y="205"/>
                  </a:cubicBezTo>
                  <a:cubicBezTo>
                    <a:pt x="171" y="209"/>
                    <a:pt x="168" y="211"/>
                    <a:pt x="165" y="2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2385920" y="4911135"/>
              <a:ext cx="182678" cy="105272"/>
            </a:xfrm>
            <a:custGeom>
              <a:avLst/>
              <a:gdLst>
                <a:gd name="T0" fmla="*/ 33 w 66"/>
                <a:gd name="T1" fmla="*/ 38 h 38"/>
                <a:gd name="T2" fmla="*/ 29 w 66"/>
                <a:gd name="T3" fmla="*/ 37 h 38"/>
                <a:gd name="T4" fmla="*/ 2 w 66"/>
                <a:gd name="T5" fmla="*/ 11 h 38"/>
                <a:gd name="T6" fmla="*/ 2 w 66"/>
                <a:gd name="T7" fmla="*/ 2 h 38"/>
                <a:gd name="T8" fmla="*/ 10 w 66"/>
                <a:gd name="T9" fmla="*/ 2 h 38"/>
                <a:gd name="T10" fmla="*/ 33 w 66"/>
                <a:gd name="T11" fmla="*/ 24 h 38"/>
                <a:gd name="T12" fmla="*/ 55 w 66"/>
                <a:gd name="T13" fmla="*/ 2 h 38"/>
                <a:gd name="T14" fmla="*/ 63 w 66"/>
                <a:gd name="T15" fmla="*/ 2 h 38"/>
                <a:gd name="T16" fmla="*/ 63 w 66"/>
                <a:gd name="T17" fmla="*/ 11 h 38"/>
                <a:gd name="T18" fmla="*/ 37 w 66"/>
                <a:gd name="T19" fmla="*/ 37 h 38"/>
                <a:gd name="T20" fmla="*/ 33 w 6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38">
                  <a:moveTo>
                    <a:pt x="33" y="38"/>
                  </a:moveTo>
                  <a:cubicBezTo>
                    <a:pt x="32" y="38"/>
                    <a:pt x="30" y="38"/>
                    <a:pt x="29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7" y="0"/>
                    <a:pt x="61" y="0"/>
                    <a:pt x="63" y="2"/>
                  </a:cubicBezTo>
                  <a:cubicBezTo>
                    <a:pt x="66" y="4"/>
                    <a:pt x="66" y="8"/>
                    <a:pt x="63" y="11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8"/>
                    <a:pt x="35" y="38"/>
                    <a:pt x="33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2460230" y="4609768"/>
              <a:ext cx="33027" cy="406639"/>
            </a:xfrm>
            <a:custGeom>
              <a:avLst/>
              <a:gdLst>
                <a:gd name="T0" fmla="*/ 6 w 12"/>
                <a:gd name="T1" fmla="*/ 147 h 147"/>
                <a:gd name="T2" fmla="*/ 0 w 12"/>
                <a:gd name="T3" fmla="*/ 141 h 147"/>
                <a:gd name="T4" fmla="*/ 0 w 12"/>
                <a:gd name="T5" fmla="*/ 6 h 147"/>
                <a:gd name="T6" fmla="*/ 6 w 12"/>
                <a:gd name="T7" fmla="*/ 0 h 147"/>
                <a:gd name="T8" fmla="*/ 12 w 12"/>
                <a:gd name="T9" fmla="*/ 6 h 147"/>
                <a:gd name="T10" fmla="*/ 12 w 12"/>
                <a:gd name="T11" fmla="*/ 141 h 147"/>
                <a:gd name="T12" fmla="*/ 6 w 12"/>
                <a:gd name="T1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7">
                  <a:moveTo>
                    <a:pt x="6" y="147"/>
                  </a:moveTo>
                  <a:cubicBezTo>
                    <a:pt x="3" y="147"/>
                    <a:pt x="0" y="145"/>
                    <a:pt x="0" y="1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5"/>
                    <a:pt x="9" y="147"/>
                    <a:pt x="6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auto">
            <a:xfrm>
              <a:off x="2410690" y="4609768"/>
              <a:ext cx="140363" cy="33027"/>
            </a:xfrm>
            <a:custGeom>
              <a:avLst/>
              <a:gdLst>
                <a:gd name="T0" fmla="*/ 45 w 51"/>
                <a:gd name="T1" fmla="*/ 12 h 12"/>
                <a:gd name="T2" fmla="*/ 6 w 51"/>
                <a:gd name="T3" fmla="*/ 12 h 12"/>
                <a:gd name="T4" fmla="*/ 0 w 51"/>
                <a:gd name="T5" fmla="*/ 6 h 12"/>
                <a:gd name="T6" fmla="*/ 6 w 51"/>
                <a:gd name="T7" fmla="*/ 0 h 12"/>
                <a:gd name="T8" fmla="*/ 45 w 51"/>
                <a:gd name="T9" fmla="*/ 0 h 12"/>
                <a:gd name="T10" fmla="*/ 51 w 51"/>
                <a:gd name="T11" fmla="*/ 6 h 12"/>
                <a:gd name="T12" fmla="*/ 45 w 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12">
                  <a:moveTo>
                    <a:pt x="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1" y="3"/>
                    <a:pt x="51" y="6"/>
                  </a:cubicBezTo>
                  <a:cubicBezTo>
                    <a:pt x="51" y="10"/>
                    <a:pt x="48" y="12"/>
                    <a:pt x="45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Freeform 16"/>
          <p:cNvSpPr>
            <a:spLocks noEditPoints="1"/>
          </p:cNvSpPr>
          <p:nvPr/>
        </p:nvSpPr>
        <p:spPr bwMode="auto">
          <a:xfrm>
            <a:off x="4974896" y="10622185"/>
            <a:ext cx="379705" cy="385897"/>
          </a:xfrm>
          <a:custGeom>
            <a:avLst/>
            <a:gdLst>
              <a:gd name="T0" fmla="*/ 35 w 69"/>
              <a:gd name="T1" fmla="*/ 70 h 70"/>
              <a:gd name="T2" fmla="*/ 0 w 69"/>
              <a:gd name="T3" fmla="*/ 35 h 70"/>
              <a:gd name="T4" fmla="*/ 35 w 69"/>
              <a:gd name="T5" fmla="*/ 0 h 70"/>
              <a:gd name="T6" fmla="*/ 69 w 69"/>
              <a:gd name="T7" fmla="*/ 35 h 70"/>
              <a:gd name="T8" fmla="*/ 35 w 69"/>
              <a:gd name="T9" fmla="*/ 70 h 70"/>
              <a:gd name="T10" fmla="*/ 35 w 69"/>
              <a:gd name="T11" fmla="*/ 12 h 70"/>
              <a:gd name="T12" fmla="*/ 12 w 69"/>
              <a:gd name="T13" fmla="*/ 35 h 70"/>
              <a:gd name="T14" fmla="*/ 35 w 69"/>
              <a:gd name="T15" fmla="*/ 58 h 70"/>
              <a:gd name="T16" fmla="*/ 57 w 69"/>
              <a:gd name="T17" fmla="*/ 35 h 70"/>
              <a:gd name="T18" fmla="*/ 35 w 69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70">
                <a:moveTo>
                  <a:pt x="35" y="70"/>
                </a:moveTo>
                <a:cubicBezTo>
                  <a:pt x="15" y="70"/>
                  <a:pt x="0" y="54"/>
                  <a:pt x="0" y="35"/>
                </a:cubicBezTo>
                <a:cubicBezTo>
                  <a:pt x="0" y="16"/>
                  <a:pt x="15" y="0"/>
                  <a:pt x="35" y="0"/>
                </a:cubicBezTo>
                <a:cubicBezTo>
                  <a:pt x="54" y="0"/>
                  <a:pt x="69" y="16"/>
                  <a:pt x="69" y="35"/>
                </a:cubicBezTo>
                <a:cubicBezTo>
                  <a:pt x="69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7" y="58"/>
                  <a:pt x="57" y="48"/>
                  <a:pt x="57" y="35"/>
                </a:cubicBezTo>
                <a:cubicBezTo>
                  <a:pt x="57" y="22"/>
                  <a:pt x="47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17"/>
          <p:cNvSpPr>
            <a:spLocks noEditPoints="1"/>
          </p:cNvSpPr>
          <p:nvPr/>
        </p:nvSpPr>
        <p:spPr bwMode="auto">
          <a:xfrm>
            <a:off x="6435941" y="11814956"/>
            <a:ext cx="387961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5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5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3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8" y="58"/>
                  <a:pt x="58" y="48"/>
                  <a:pt x="58" y="35"/>
                </a:cubicBezTo>
                <a:cubicBezTo>
                  <a:pt x="58" y="23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auto">
          <a:xfrm>
            <a:off x="6237832" y="9020816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 20"/>
          <p:cNvSpPr>
            <a:spLocks noEditPoints="1"/>
          </p:cNvSpPr>
          <p:nvPr/>
        </p:nvSpPr>
        <p:spPr bwMode="auto">
          <a:xfrm>
            <a:off x="8185889" y="10362168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8" name="Agrupar 117"/>
          <p:cNvGrpSpPr/>
          <p:nvPr/>
        </p:nvGrpSpPr>
        <p:grpSpPr>
          <a:xfrm>
            <a:off x="3811016" y="9060024"/>
            <a:ext cx="392088" cy="385897"/>
            <a:chOff x="1906004" y="4530298"/>
            <a:chExt cx="196095" cy="192999"/>
          </a:xfrm>
        </p:grpSpPr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1909100" y="4532362"/>
              <a:ext cx="71214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2"/>
            <p:cNvSpPr>
              <a:spLocks/>
            </p:cNvSpPr>
            <p:nvPr/>
          </p:nvSpPr>
          <p:spPr bwMode="auto">
            <a:xfrm>
              <a:off x="2032949" y="4654147"/>
              <a:ext cx="69150" cy="69150"/>
            </a:xfrm>
            <a:custGeom>
              <a:avLst/>
              <a:gdLst>
                <a:gd name="T0" fmla="*/ 19 w 25"/>
                <a:gd name="T1" fmla="*/ 25 h 25"/>
                <a:gd name="T2" fmla="*/ 15 w 25"/>
                <a:gd name="T3" fmla="*/ 24 h 25"/>
                <a:gd name="T4" fmla="*/ 2 w 25"/>
                <a:gd name="T5" fmla="*/ 11 h 25"/>
                <a:gd name="T6" fmla="*/ 2 w 25"/>
                <a:gd name="T7" fmla="*/ 2 h 25"/>
                <a:gd name="T8" fmla="*/ 10 w 25"/>
                <a:gd name="T9" fmla="*/ 2 h 25"/>
                <a:gd name="T10" fmla="*/ 23 w 25"/>
                <a:gd name="T11" fmla="*/ 15 h 25"/>
                <a:gd name="T12" fmla="*/ 23 w 25"/>
                <a:gd name="T13" fmla="*/ 24 h 25"/>
                <a:gd name="T14" fmla="*/ 19 w 25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19" y="25"/>
                  </a:moveTo>
                  <a:cubicBezTo>
                    <a:pt x="17" y="25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8"/>
                    <a:pt x="25" y="21"/>
                    <a:pt x="23" y="24"/>
                  </a:cubicBezTo>
                  <a:cubicBezTo>
                    <a:pt x="22" y="25"/>
                    <a:pt x="20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3"/>
            <p:cNvSpPr>
              <a:spLocks/>
            </p:cNvSpPr>
            <p:nvPr/>
          </p:nvSpPr>
          <p:spPr bwMode="auto">
            <a:xfrm>
              <a:off x="1906004" y="4651051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5"/>
                    <a:pt x="26" y="8"/>
                    <a:pt x="24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2027789" y="4530298"/>
              <a:ext cx="71214" cy="68117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7903171" y="11567320"/>
            <a:ext cx="392090" cy="392088"/>
            <a:chOff x="3952615" y="5784273"/>
            <a:chExt cx="196096" cy="196095"/>
          </a:xfrm>
        </p:grpSpPr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3955712" y="5786338"/>
              <a:ext cx="72245" cy="72245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1 w 26"/>
                <a:gd name="T9" fmla="*/ 3 h 26"/>
                <a:gd name="T10" fmla="*/ 24 w 26"/>
                <a:gd name="T11" fmla="*/ 15 h 26"/>
                <a:gd name="T12" fmla="*/ 24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8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auto">
            <a:xfrm>
              <a:off x="4077497" y="5908123"/>
              <a:ext cx="71214" cy="72245"/>
            </a:xfrm>
            <a:custGeom>
              <a:avLst/>
              <a:gdLst>
                <a:gd name="T0" fmla="*/ 20 w 26"/>
                <a:gd name="T1" fmla="*/ 26 h 26"/>
                <a:gd name="T2" fmla="*/ 15 w 26"/>
                <a:gd name="T3" fmla="*/ 24 h 26"/>
                <a:gd name="T4" fmla="*/ 3 w 26"/>
                <a:gd name="T5" fmla="*/ 11 h 26"/>
                <a:gd name="T6" fmla="*/ 3 w 26"/>
                <a:gd name="T7" fmla="*/ 3 h 26"/>
                <a:gd name="T8" fmla="*/ 11 w 26"/>
                <a:gd name="T9" fmla="*/ 3 h 26"/>
                <a:gd name="T10" fmla="*/ 24 w 26"/>
                <a:gd name="T11" fmla="*/ 16 h 26"/>
                <a:gd name="T12" fmla="*/ 24 w 26"/>
                <a:gd name="T13" fmla="*/ 24 h 26"/>
                <a:gd name="T14" fmla="*/ 20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20" y="26"/>
                  </a:moveTo>
                  <a:cubicBezTo>
                    <a:pt x="18" y="26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2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27"/>
            <p:cNvSpPr>
              <a:spLocks/>
            </p:cNvSpPr>
            <p:nvPr/>
          </p:nvSpPr>
          <p:spPr bwMode="auto">
            <a:xfrm>
              <a:off x="3952615" y="5905026"/>
              <a:ext cx="72245" cy="72245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5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1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auto">
            <a:xfrm>
              <a:off x="4074400" y="5784273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4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4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4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4" y="2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7" name="Agrupar 116"/>
          <p:cNvGrpSpPr/>
          <p:nvPr/>
        </p:nvGrpSpPr>
        <p:grpSpPr>
          <a:xfrm>
            <a:off x="4555981" y="11307492"/>
            <a:ext cx="392086" cy="387961"/>
            <a:chOff x="2278584" y="5725445"/>
            <a:chExt cx="196094" cy="194031"/>
          </a:xfrm>
        </p:grpSpPr>
        <p:sp>
          <p:nvSpPr>
            <p:cNvPr id="58" name="Freeform 29"/>
            <p:cNvSpPr>
              <a:spLocks/>
            </p:cNvSpPr>
            <p:nvPr/>
          </p:nvSpPr>
          <p:spPr bwMode="auto">
            <a:xfrm>
              <a:off x="2280648" y="5728541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0"/>
            <p:cNvSpPr>
              <a:spLocks/>
            </p:cNvSpPr>
            <p:nvPr/>
          </p:nvSpPr>
          <p:spPr bwMode="auto">
            <a:xfrm>
              <a:off x="2402433" y="5850326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4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4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4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278584" y="5847230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3 w 26"/>
                <a:gd name="T9" fmla="*/ 2 h 25"/>
                <a:gd name="T10" fmla="*/ 23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3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3" y="2"/>
                  </a:cubicBezTo>
                  <a:cubicBezTo>
                    <a:pt x="26" y="4"/>
                    <a:pt x="26" y="8"/>
                    <a:pt x="23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2399337" y="5725445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1" name="Agrupar 120"/>
          <p:cNvGrpSpPr/>
          <p:nvPr/>
        </p:nvGrpSpPr>
        <p:grpSpPr>
          <a:xfrm>
            <a:off x="9056736" y="10589164"/>
            <a:ext cx="398278" cy="392090"/>
            <a:chOff x="4529547" y="5295068"/>
            <a:chExt cx="199191" cy="196096"/>
          </a:xfrm>
        </p:grpSpPr>
        <p:sp>
          <p:nvSpPr>
            <p:cNvPr id="62" name="Freeform 33"/>
            <p:cNvSpPr>
              <a:spLocks/>
            </p:cNvSpPr>
            <p:nvPr/>
          </p:nvSpPr>
          <p:spPr bwMode="auto">
            <a:xfrm>
              <a:off x="4535740" y="5298164"/>
              <a:ext cx="71214" cy="71214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0 w 26"/>
                <a:gd name="T9" fmla="*/ 3 h 26"/>
                <a:gd name="T10" fmla="*/ 23 w 26"/>
                <a:gd name="T11" fmla="*/ 16 h 26"/>
                <a:gd name="T12" fmla="*/ 23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7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8"/>
                    <a:pt x="26" y="22"/>
                    <a:pt x="23" y="24"/>
                  </a:cubicBezTo>
                  <a:cubicBezTo>
                    <a:pt x="22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34"/>
            <p:cNvSpPr>
              <a:spLocks/>
            </p:cNvSpPr>
            <p:nvPr/>
          </p:nvSpPr>
          <p:spPr bwMode="auto">
            <a:xfrm>
              <a:off x="4656493" y="5422014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0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529547" y="5416854"/>
              <a:ext cx="72245" cy="71214"/>
            </a:xfrm>
            <a:custGeom>
              <a:avLst/>
              <a:gdLst>
                <a:gd name="T0" fmla="*/ 7 w 26"/>
                <a:gd name="T1" fmla="*/ 26 h 26"/>
                <a:gd name="T2" fmla="*/ 3 w 26"/>
                <a:gd name="T3" fmla="*/ 24 h 26"/>
                <a:gd name="T4" fmla="*/ 3 w 26"/>
                <a:gd name="T5" fmla="*/ 15 h 26"/>
                <a:gd name="T6" fmla="*/ 15 w 26"/>
                <a:gd name="T7" fmla="*/ 3 h 26"/>
                <a:gd name="T8" fmla="*/ 24 w 26"/>
                <a:gd name="T9" fmla="*/ 3 h 26"/>
                <a:gd name="T10" fmla="*/ 24 w 26"/>
                <a:gd name="T11" fmla="*/ 11 h 26"/>
                <a:gd name="T12" fmla="*/ 11 w 26"/>
                <a:gd name="T13" fmla="*/ 24 h 26"/>
                <a:gd name="T14" fmla="*/ 7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7" y="26"/>
                  </a:moveTo>
                  <a:cubicBezTo>
                    <a:pt x="5" y="26"/>
                    <a:pt x="4" y="25"/>
                    <a:pt x="3" y="24"/>
                  </a:cubicBezTo>
                  <a:cubicBezTo>
                    <a:pt x="0" y="22"/>
                    <a:pt x="0" y="18"/>
                    <a:pt x="3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8" y="0"/>
                    <a:pt x="22" y="0"/>
                    <a:pt x="24" y="3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9" y="26"/>
                    <a:pt x="7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654428" y="5295068"/>
              <a:ext cx="68117" cy="71214"/>
            </a:xfrm>
            <a:custGeom>
              <a:avLst/>
              <a:gdLst>
                <a:gd name="T0" fmla="*/ 6 w 25"/>
                <a:gd name="T1" fmla="*/ 26 h 26"/>
                <a:gd name="T2" fmla="*/ 2 w 25"/>
                <a:gd name="T3" fmla="*/ 24 h 26"/>
                <a:gd name="T4" fmla="*/ 2 w 25"/>
                <a:gd name="T5" fmla="*/ 15 h 26"/>
                <a:gd name="T6" fmla="*/ 15 w 25"/>
                <a:gd name="T7" fmla="*/ 3 h 26"/>
                <a:gd name="T8" fmla="*/ 23 w 25"/>
                <a:gd name="T9" fmla="*/ 3 h 26"/>
                <a:gd name="T10" fmla="*/ 23 w 25"/>
                <a:gd name="T11" fmla="*/ 11 h 26"/>
                <a:gd name="T12" fmla="*/ 10 w 25"/>
                <a:gd name="T13" fmla="*/ 24 h 26"/>
                <a:gd name="T14" fmla="*/ 6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5" y="5"/>
                    <a:pt x="25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0" name="Agrupar 119"/>
          <p:cNvGrpSpPr/>
          <p:nvPr/>
        </p:nvGrpSpPr>
        <p:grpSpPr>
          <a:xfrm>
            <a:off x="6834216" y="9501637"/>
            <a:ext cx="396217" cy="392090"/>
            <a:chOff x="3417998" y="4751163"/>
            <a:chExt cx="198160" cy="196096"/>
          </a:xfrm>
        </p:grpSpPr>
        <p:sp>
          <p:nvSpPr>
            <p:cNvPr id="70" name="Freeform 41"/>
            <p:cNvSpPr>
              <a:spLocks/>
            </p:cNvSpPr>
            <p:nvPr/>
          </p:nvSpPr>
          <p:spPr bwMode="auto">
            <a:xfrm>
              <a:off x="3423159" y="4756323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42"/>
            <p:cNvSpPr>
              <a:spLocks/>
            </p:cNvSpPr>
            <p:nvPr/>
          </p:nvSpPr>
          <p:spPr bwMode="auto">
            <a:xfrm>
              <a:off x="3544944" y="4878109"/>
              <a:ext cx="71214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5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43"/>
            <p:cNvSpPr>
              <a:spLocks/>
            </p:cNvSpPr>
            <p:nvPr/>
          </p:nvSpPr>
          <p:spPr bwMode="auto">
            <a:xfrm>
              <a:off x="3417998" y="4875012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6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6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9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44"/>
            <p:cNvSpPr>
              <a:spLocks/>
            </p:cNvSpPr>
            <p:nvPr/>
          </p:nvSpPr>
          <p:spPr bwMode="auto">
            <a:xfrm>
              <a:off x="3541848" y="4751163"/>
              <a:ext cx="72245" cy="71214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6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0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2"/>
                    <a:pt x="0" y="18"/>
                    <a:pt x="2" y="16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5" name="Agrupar 134"/>
          <p:cNvGrpSpPr/>
          <p:nvPr/>
        </p:nvGrpSpPr>
        <p:grpSpPr>
          <a:xfrm>
            <a:off x="4389539" y="2703653"/>
            <a:ext cx="917997" cy="652828"/>
            <a:chOff x="6351" y="1588"/>
            <a:chExt cx="1082675" cy="769938"/>
          </a:xfrm>
          <a:solidFill>
            <a:schemeClr val="bg1"/>
          </a:solidFill>
        </p:grpSpPr>
        <p:sp>
          <p:nvSpPr>
            <p:cNvPr id="128" name="Freeform 48"/>
            <p:cNvSpPr>
              <a:spLocks/>
            </p:cNvSpPr>
            <p:nvPr/>
          </p:nvSpPr>
          <p:spPr bwMode="auto">
            <a:xfrm>
              <a:off x="6351" y="1588"/>
              <a:ext cx="338138" cy="339725"/>
            </a:xfrm>
            <a:custGeom>
              <a:avLst/>
              <a:gdLst>
                <a:gd name="T0" fmla="*/ 72 w 79"/>
                <a:gd name="T1" fmla="*/ 78 h 79"/>
                <a:gd name="T2" fmla="*/ 67 w 79"/>
                <a:gd name="T3" fmla="*/ 75 h 79"/>
                <a:gd name="T4" fmla="*/ 40 w 79"/>
                <a:gd name="T5" fmla="*/ 19 h 79"/>
                <a:gd name="T6" fmla="*/ 12 w 79"/>
                <a:gd name="T7" fmla="*/ 75 h 79"/>
                <a:gd name="T8" fmla="*/ 4 w 79"/>
                <a:gd name="T9" fmla="*/ 77 h 79"/>
                <a:gd name="T10" fmla="*/ 1 w 79"/>
                <a:gd name="T11" fmla="*/ 69 h 79"/>
                <a:gd name="T12" fmla="*/ 35 w 79"/>
                <a:gd name="T13" fmla="*/ 3 h 79"/>
                <a:gd name="T14" fmla="*/ 40 w 79"/>
                <a:gd name="T15" fmla="*/ 0 h 79"/>
                <a:gd name="T16" fmla="*/ 40 w 79"/>
                <a:gd name="T17" fmla="*/ 0 h 79"/>
                <a:gd name="T18" fmla="*/ 46 w 79"/>
                <a:gd name="T19" fmla="*/ 3 h 79"/>
                <a:gd name="T20" fmla="*/ 78 w 79"/>
                <a:gd name="T21" fmla="*/ 70 h 79"/>
                <a:gd name="T22" fmla="*/ 75 w 79"/>
                <a:gd name="T23" fmla="*/ 78 h 79"/>
                <a:gd name="T24" fmla="*/ 72 w 79"/>
                <a:gd name="T25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79">
                  <a:moveTo>
                    <a:pt x="72" y="78"/>
                  </a:moveTo>
                  <a:cubicBezTo>
                    <a:pt x="70" y="78"/>
                    <a:pt x="68" y="77"/>
                    <a:pt x="67" y="75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8"/>
                    <a:pt x="7" y="79"/>
                    <a:pt x="4" y="77"/>
                  </a:cubicBezTo>
                  <a:cubicBezTo>
                    <a:pt x="1" y="76"/>
                    <a:pt x="0" y="72"/>
                    <a:pt x="1" y="69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1"/>
                    <a:pt x="38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5" y="1"/>
                    <a:pt x="46" y="3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9" y="73"/>
                    <a:pt x="78" y="76"/>
                    <a:pt x="75" y="78"/>
                  </a:cubicBezTo>
                  <a:cubicBezTo>
                    <a:pt x="74" y="78"/>
                    <a:pt x="73" y="78"/>
                    <a:pt x="7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9"/>
            <p:cNvSpPr>
              <a:spLocks/>
            </p:cNvSpPr>
            <p:nvPr/>
          </p:nvSpPr>
          <p:spPr bwMode="auto">
            <a:xfrm>
              <a:off x="57151" y="185738"/>
              <a:ext cx="234950" cy="52388"/>
            </a:xfrm>
            <a:custGeom>
              <a:avLst/>
              <a:gdLst>
                <a:gd name="T0" fmla="*/ 49 w 55"/>
                <a:gd name="T1" fmla="*/ 12 h 12"/>
                <a:gd name="T2" fmla="*/ 6 w 55"/>
                <a:gd name="T3" fmla="*/ 12 h 12"/>
                <a:gd name="T4" fmla="*/ 0 w 55"/>
                <a:gd name="T5" fmla="*/ 6 h 12"/>
                <a:gd name="T6" fmla="*/ 6 w 55"/>
                <a:gd name="T7" fmla="*/ 0 h 12"/>
                <a:gd name="T8" fmla="*/ 49 w 55"/>
                <a:gd name="T9" fmla="*/ 0 h 12"/>
                <a:gd name="T10" fmla="*/ 55 w 55"/>
                <a:gd name="T11" fmla="*/ 6 h 12"/>
                <a:gd name="T12" fmla="*/ 49 w 5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">
                  <a:moveTo>
                    <a:pt x="4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6"/>
                  </a:cubicBezTo>
                  <a:cubicBezTo>
                    <a:pt x="55" y="9"/>
                    <a:pt x="52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50"/>
            <p:cNvSpPr>
              <a:spLocks/>
            </p:cNvSpPr>
            <p:nvPr/>
          </p:nvSpPr>
          <p:spPr bwMode="auto">
            <a:xfrm>
              <a:off x="460376" y="22226"/>
              <a:ext cx="628650" cy="52388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51"/>
            <p:cNvSpPr>
              <a:spLocks/>
            </p:cNvSpPr>
            <p:nvPr/>
          </p:nvSpPr>
          <p:spPr bwMode="auto">
            <a:xfrm>
              <a:off x="460376" y="255588"/>
              <a:ext cx="628650" cy="50800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52"/>
            <p:cNvSpPr>
              <a:spLocks/>
            </p:cNvSpPr>
            <p:nvPr/>
          </p:nvSpPr>
          <p:spPr bwMode="auto">
            <a:xfrm>
              <a:off x="14288" y="487363"/>
              <a:ext cx="1074738" cy="52388"/>
            </a:xfrm>
            <a:custGeom>
              <a:avLst/>
              <a:gdLst>
                <a:gd name="T0" fmla="*/ 245 w 251"/>
                <a:gd name="T1" fmla="*/ 12 h 12"/>
                <a:gd name="T2" fmla="*/ 6 w 251"/>
                <a:gd name="T3" fmla="*/ 12 h 12"/>
                <a:gd name="T4" fmla="*/ 0 w 251"/>
                <a:gd name="T5" fmla="*/ 6 h 12"/>
                <a:gd name="T6" fmla="*/ 6 w 251"/>
                <a:gd name="T7" fmla="*/ 0 h 12"/>
                <a:gd name="T8" fmla="*/ 245 w 251"/>
                <a:gd name="T9" fmla="*/ 0 h 12"/>
                <a:gd name="T10" fmla="*/ 251 w 251"/>
                <a:gd name="T11" fmla="*/ 6 h 12"/>
                <a:gd name="T12" fmla="*/ 245 w 2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12">
                  <a:moveTo>
                    <a:pt x="2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9" y="0"/>
                    <a:pt x="251" y="3"/>
                    <a:pt x="251" y="6"/>
                  </a:cubicBezTo>
                  <a:cubicBezTo>
                    <a:pt x="251" y="9"/>
                    <a:pt x="249" y="12"/>
                    <a:pt x="24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53"/>
            <p:cNvSpPr>
              <a:spLocks/>
            </p:cNvSpPr>
            <p:nvPr/>
          </p:nvSpPr>
          <p:spPr bwMode="auto">
            <a:xfrm>
              <a:off x="14288" y="720726"/>
              <a:ext cx="642938" cy="50800"/>
            </a:xfrm>
            <a:custGeom>
              <a:avLst/>
              <a:gdLst>
                <a:gd name="T0" fmla="*/ 144 w 150"/>
                <a:gd name="T1" fmla="*/ 12 h 12"/>
                <a:gd name="T2" fmla="*/ 6 w 150"/>
                <a:gd name="T3" fmla="*/ 12 h 12"/>
                <a:gd name="T4" fmla="*/ 0 w 150"/>
                <a:gd name="T5" fmla="*/ 6 h 12"/>
                <a:gd name="T6" fmla="*/ 6 w 150"/>
                <a:gd name="T7" fmla="*/ 0 h 12"/>
                <a:gd name="T8" fmla="*/ 144 w 150"/>
                <a:gd name="T9" fmla="*/ 0 h 12"/>
                <a:gd name="T10" fmla="*/ 150 w 150"/>
                <a:gd name="T11" fmla="*/ 6 h 12"/>
                <a:gd name="T12" fmla="*/ 144 w 15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">
                  <a:moveTo>
                    <a:pt x="14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0"/>
                    <a:pt x="150" y="3"/>
                    <a:pt x="150" y="6"/>
                  </a:cubicBezTo>
                  <a:cubicBezTo>
                    <a:pt x="150" y="9"/>
                    <a:pt x="14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54"/>
            <p:cNvSpPr>
              <a:spLocks/>
            </p:cNvSpPr>
            <p:nvPr/>
          </p:nvSpPr>
          <p:spPr bwMode="auto">
            <a:xfrm>
              <a:off x="785813" y="720726"/>
              <a:ext cx="303213" cy="50800"/>
            </a:xfrm>
            <a:custGeom>
              <a:avLst/>
              <a:gdLst>
                <a:gd name="T0" fmla="*/ 65 w 71"/>
                <a:gd name="T1" fmla="*/ 12 h 12"/>
                <a:gd name="T2" fmla="*/ 6 w 71"/>
                <a:gd name="T3" fmla="*/ 12 h 12"/>
                <a:gd name="T4" fmla="*/ 0 w 71"/>
                <a:gd name="T5" fmla="*/ 6 h 12"/>
                <a:gd name="T6" fmla="*/ 6 w 71"/>
                <a:gd name="T7" fmla="*/ 0 h 12"/>
                <a:gd name="T8" fmla="*/ 65 w 71"/>
                <a:gd name="T9" fmla="*/ 0 h 12"/>
                <a:gd name="T10" fmla="*/ 71 w 71"/>
                <a:gd name="T11" fmla="*/ 6 h 12"/>
                <a:gd name="T12" fmla="*/ 65 w 7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2">
                  <a:moveTo>
                    <a:pt x="6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1" y="3"/>
                    <a:pt x="71" y="6"/>
                  </a:cubicBezTo>
                  <a:cubicBezTo>
                    <a:pt x="71" y="9"/>
                    <a:pt x="69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Freeform 62"/>
          <p:cNvSpPr>
            <a:spLocks noEditPoints="1"/>
          </p:cNvSpPr>
          <p:nvPr/>
        </p:nvSpPr>
        <p:spPr bwMode="auto">
          <a:xfrm>
            <a:off x="13017643" y="4765297"/>
            <a:ext cx="1493231" cy="1613516"/>
          </a:xfrm>
          <a:custGeom>
            <a:avLst/>
            <a:gdLst>
              <a:gd name="T0" fmla="*/ 26 w 458"/>
              <a:gd name="T1" fmla="*/ 460 h 495"/>
              <a:gd name="T2" fmla="*/ 70 w 458"/>
              <a:gd name="T3" fmla="*/ 440 h 495"/>
              <a:gd name="T4" fmla="*/ 0 w 458"/>
              <a:gd name="T5" fmla="*/ 282 h 495"/>
              <a:gd name="T6" fmla="*/ 132 w 458"/>
              <a:gd name="T7" fmla="*/ 0 h 495"/>
              <a:gd name="T8" fmla="*/ 147 w 458"/>
              <a:gd name="T9" fmla="*/ 297 h 495"/>
              <a:gd name="T10" fmla="*/ 96 w 458"/>
              <a:gd name="T11" fmla="*/ 448 h 495"/>
              <a:gd name="T12" fmla="*/ 309 w 458"/>
              <a:gd name="T13" fmla="*/ 440 h 495"/>
              <a:gd name="T14" fmla="*/ 219 w 458"/>
              <a:gd name="T15" fmla="*/ 354 h 495"/>
              <a:gd name="T16" fmla="*/ 202 w 458"/>
              <a:gd name="T17" fmla="*/ 326 h 495"/>
              <a:gd name="T18" fmla="*/ 172 w 458"/>
              <a:gd name="T19" fmla="*/ 136 h 495"/>
              <a:gd name="T20" fmla="*/ 427 w 458"/>
              <a:gd name="T21" fmla="*/ 106 h 495"/>
              <a:gd name="T22" fmla="*/ 449 w 458"/>
              <a:gd name="T23" fmla="*/ 317 h 495"/>
              <a:gd name="T24" fmla="*/ 388 w 458"/>
              <a:gd name="T25" fmla="*/ 347 h 495"/>
              <a:gd name="T26" fmla="*/ 404 w 458"/>
              <a:gd name="T27" fmla="*/ 392 h 495"/>
              <a:gd name="T28" fmla="*/ 335 w 458"/>
              <a:gd name="T29" fmla="*/ 448 h 495"/>
              <a:gd name="T30" fmla="*/ 440 w 458"/>
              <a:gd name="T31" fmla="*/ 473 h 495"/>
              <a:gd name="T32" fmla="*/ 315 w 458"/>
              <a:gd name="T33" fmla="*/ 495 h 495"/>
              <a:gd name="T34" fmla="*/ 96 w 458"/>
              <a:gd name="T35" fmla="*/ 487 h 495"/>
              <a:gd name="T36" fmla="*/ 49 w 458"/>
              <a:gd name="T37" fmla="*/ 473 h 495"/>
              <a:gd name="T38" fmla="*/ 300 w 458"/>
              <a:gd name="T39" fmla="*/ 467 h 495"/>
              <a:gd name="T40" fmla="*/ 330 w 458"/>
              <a:gd name="T41" fmla="*/ 467 h 495"/>
              <a:gd name="T42" fmla="*/ 388 w 458"/>
              <a:gd name="T43" fmla="*/ 360 h 495"/>
              <a:gd name="T44" fmla="*/ 232 w 458"/>
              <a:gd name="T45" fmla="*/ 360 h 495"/>
              <a:gd name="T46" fmla="*/ 375 w 458"/>
              <a:gd name="T47" fmla="*/ 326 h 495"/>
              <a:gd name="T48" fmla="*/ 229 w 458"/>
              <a:gd name="T49" fmla="*/ 226 h 495"/>
              <a:gd name="T50" fmla="*/ 219 w 458"/>
              <a:gd name="T51" fmla="*/ 217 h 495"/>
              <a:gd name="T52" fmla="*/ 255 w 458"/>
              <a:gd name="T53" fmla="*/ 157 h 495"/>
              <a:gd name="T54" fmla="*/ 214 w 458"/>
              <a:gd name="T55" fmla="*/ 189 h 495"/>
              <a:gd name="T56" fmla="*/ 197 w 458"/>
              <a:gd name="T57" fmla="*/ 132 h 495"/>
              <a:gd name="T58" fmla="*/ 432 w 458"/>
              <a:gd name="T59" fmla="*/ 132 h 495"/>
              <a:gd name="T60" fmla="*/ 445 w 458"/>
              <a:gd name="T61" fmla="*/ 136 h 495"/>
              <a:gd name="T62" fmla="*/ 190 w 458"/>
              <a:gd name="T63" fmla="*/ 124 h 495"/>
              <a:gd name="T64" fmla="*/ 192 w 458"/>
              <a:gd name="T65" fmla="*/ 254 h 495"/>
              <a:gd name="T66" fmla="*/ 423 w 458"/>
              <a:gd name="T67" fmla="*/ 142 h 495"/>
              <a:gd name="T68" fmla="*/ 205 w 458"/>
              <a:gd name="T69" fmla="*/ 146 h 495"/>
              <a:gd name="T70" fmla="*/ 302 w 458"/>
              <a:gd name="T71" fmla="*/ 278 h 495"/>
              <a:gd name="T72" fmla="*/ 302 w 458"/>
              <a:gd name="T73" fmla="*/ 303 h 495"/>
              <a:gd name="T74" fmla="*/ 333 w 458"/>
              <a:gd name="T75" fmla="*/ 291 h 495"/>
              <a:gd name="T76" fmla="*/ 315 w 458"/>
              <a:gd name="T77" fmla="*/ 286 h 495"/>
              <a:gd name="T78" fmla="*/ 315 w 458"/>
              <a:gd name="T79" fmla="*/ 296 h 495"/>
              <a:gd name="T80" fmla="*/ 318 w 458"/>
              <a:gd name="T81" fmla="*/ 287 h 495"/>
              <a:gd name="T82" fmla="*/ 190 w 458"/>
              <a:gd name="T83" fmla="*/ 308 h 495"/>
              <a:gd name="T84" fmla="*/ 440 w 458"/>
              <a:gd name="T85" fmla="*/ 308 h 495"/>
              <a:gd name="T86" fmla="*/ 140 w 458"/>
              <a:gd name="T87" fmla="*/ 168 h 495"/>
              <a:gd name="T88" fmla="*/ 140 w 458"/>
              <a:gd name="T89" fmla="*/ 181 h 495"/>
              <a:gd name="T90" fmla="*/ 21 w 458"/>
              <a:gd name="T91" fmla="*/ 290 h 495"/>
              <a:gd name="T92" fmla="*/ 140 w 458"/>
              <a:gd name="T93" fmla="*/ 181 h 495"/>
              <a:gd name="T94" fmla="*/ 138 w 458"/>
              <a:gd name="T95" fmla="*/ 16 h 495"/>
              <a:gd name="T96" fmla="*/ 13 w 458"/>
              <a:gd name="T97" fmla="*/ 21 h 495"/>
              <a:gd name="T98" fmla="*/ 13 w 458"/>
              <a:gd name="T99" fmla="*/ 123 h 495"/>
              <a:gd name="T100" fmla="*/ 96 w 458"/>
              <a:gd name="T101" fmla="*/ 200 h 495"/>
              <a:gd name="T102" fmla="*/ 96 w 458"/>
              <a:gd name="T103" fmla="*/ 227 h 495"/>
              <a:gd name="T104" fmla="*/ 123 w 458"/>
              <a:gd name="T105" fmla="*/ 227 h 495"/>
              <a:gd name="T106" fmla="*/ 114 w 458"/>
              <a:gd name="T107" fmla="*/ 209 h 495"/>
              <a:gd name="T108" fmla="*/ 103 w 458"/>
              <a:gd name="T109" fmla="*/ 213 h 495"/>
              <a:gd name="T110" fmla="*/ 114 w 458"/>
              <a:gd name="T111" fmla="*/ 218 h 495"/>
              <a:gd name="T112" fmla="*/ 109 w 458"/>
              <a:gd name="T113" fmla="*/ 237 h 495"/>
              <a:gd name="T114" fmla="*/ 109 w 458"/>
              <a:gd name="T115" fmla="*/ 282 h 495"/>
              <a:gd name="T116" fmla="*/ 109 w 458"/>
              <a:gd name="T117" fmla="*/ 237 h 495"/>
              <a:gd name="T118" fmla="*/ 100 w 458"/>
              <a:gd name="T119" fmla="*/ 260 h 495"/>
              <a:gd name="T120" fmla="*/ 119 w 458"/>
              <a:gd name="T121" fmla="*/ 260 h 495"/>
              <a:gd name="T122" fmla="*/ 66 w 458"/>
              <a:gd name="T123" fmla="*/ 457 h 495"/>
              <a:gd name="T124" fmla="*/ 87 w 458"/>
              <a:gd name="T125" fmla="*/ 478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8" h="495">
                <a:moveTo>
                  <a:pt x="49" y="473"/>
                </a:moveTo>
                <a:cubicBezTo>
                  <a:pt x="26" y="473"/>
                  <a:pt x="26" y="473"/>
                  <a:pt x="26" y="473"/>
                </a:cubicBezTo>
                <a:cubicBezTo>
                  <a:pt x="23" y="473"/>
                  <a:pt x="20" y="470"/>
                  <a:pt x="20" y="466"/>
                </a:cubicBezTo>
                <a:cubicBezTo>
                  <a:pt x="20" y="462"/>
                  <a:pt x="23" y="460"/>
                  <a:pt x="26" y="460"/>
                </a:cubicBezTo>
                <a:cubicBezTo>
                  <a:pt x="50" y="460"/>
                  <a:pt x="50" y="460"/>
                  <a:pt x="50" y="460"/>
                </a:cubicBezTo>
                <a:cubicBezTo>
                  <a:pt x="51" y="455"/>
                  <a:pt x="54" y="451"/>
                  <a:pt x="57" y="448"/>
                </a:cubicBezTo>
                <a:cubicBezTo>
                  <a:pt x="57" y="448"/>
                  <a:pt x="57" y="448"/>
                  <a:pt x="57" y="448"/>
                </a:cubicBezTo>
                <a:cubicBezTo>
                  <a:pt x="61" y="444"/>
                  <a:pt x="65" y="442"/>
                  <a:pt x="70" y="440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21" y="303"/>
                  <a:pt x="21" y="303"/>
                  <a:pt x="21" y="303"/>
                </a:cubicBezTo>
                <a:cubicBezTo>
                  <a:pt x="16" y="303"/>
                  <a:pt x="10" y="301"/>
                  <a:pt x="7" y="297"/>
                </a:cubicBezTo>
                <a:cubicBezTo>
                  <a:pt x="3" y="293"/>
                  <a:pt x="0" y="288"/>
                  <a:pt x="0" y="28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3" y="10"/>
                  <a:pt x="7" y="6"/>
                </a:cubicBezTo>
                <a:cubicBezTo>
                  <a:pt x="10" y="3"/>
                  <a:pt x="16" y="0"/>
                  <a:pt x="21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8" y="0"/>
                  <a:pt x="143" y="3"/>
                  <a:pt x="147" y="6"/>
                </a:cubicBezTo>
                <a:cubicBezTo>
                  <a:pt x="151" y="10"/>
                  <a:pt x="153" y="15"/>
                  <a:pt x="153" y="21"/>
                </a:cubicBezTo>
                <a:cubicBezTo>
                  <a:pt x="153" y="282"/>
                  <a:pt x="153" y="282"/>
                  <a:pt x="153" y="282"/>
                </a:cubicBezTo>
                <a:cubicBezTo>
                  <a:pt x="153" y="288"/>
                  <a:pt x="151" y="293"/>
                  <a:pt x="147" y="297"/>
                </a:cubicBezTo>
                <a:cubicBezTo>
                  <a:pt x="143" y="301"/>
                  <a:pt x="138" y="303"/>
                  <a:pt x="132" y="303"/>
                </a:cubicBezTo>
                <a:cubicBezTo>
                  <a:pt x="83" y="303"/>
                  <a:pt x="83" y="303"/>
                  <a:pt x="83" y="303"/>
                </a:cubicBezTo>
                <a:cubicBezTo>
                  <a:pt x="83" y="440"/>
                  <a:pt x="83" y="440"/>
                  <a:pt x="83" y="440"/>
                </a:cubicBezTo>
                <a:cubicBezTo>
                  <a:pt x="88" y="442"/>
                  <a:pt x="93" y="444"/>
                  <a:pt x="96" y="448"/>
                </a:cubicBezTo>
                <a:cubicBezTo>
                  <a:pt x="100" y="451"/>
                  <a:pt x="102" y="455"/>
                  <a:pt x="103" y="460"/>
                </a:cubicBezTo>
                <a:cubicBezTo>
                  <a:pt x="289" y="460"/>
                  <a:pt x="289" y="460"/>
                  <a:pt x="289" y="460"/>
                </a:cubicBezTo>
                <a:cubicBezTo>
                  <a:pt x="290" y="455"/>
                  <a:pt x="292" y="451"/>
                  <a:pt x="296" y="448"/>
                </a:cubicBezTo>
                <a:cubicBezTo>
                  <a:pt x="299" y="444"/>
                  <a:pt x="304" y="442"/>
                  <a:pt x="309" y="440"/>
                </a:cubicBezTo>
                <a:cubicBezTo>
                  <a:pt x="309" y="392"/>
                  <a:pt x="309" y="392"/>
                  <a:pt x="309" y="392"/>
                </a:cubicBezTo>
                <a:cubicBezTo>
                  <a:pt x="226" y="392"/>
                  <a:pt x="226" y="392"/>
                  <a:pt x="226" y="392"/>
                </a:cubicBezTo>
                <a:cubicBezTo>
                  <a:pt x="222" y="392"/>
                  <a:pt x="219" y="389"/>
                  <a:pt x="219" y="385"/>
                </a:cubicBezTo>
                <a:cubicBezTo>
                  <a:pt x="219" y="354"/>
                  <a:pt x="219" y="354"/>
                  <a:pt x="219" y="354"/>
                </a:cubicBezTo>
                <a:cubicBezTo>
                  <a:pt x="219" y="350"/>
                  <a:pt x="222" y="347"/>
                  <a:pt x="226" y="347"/>
                </a:cubicBezTo>
                <a:cubicBezTo>
                  <a:pt x="242" y="347"/>
                  <a:pt x="242" y="347"/>
                  <a:pt x="242" y="347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194" y="326"/>
                  <a:pt x="186" y="323"/>
                  <a:pt x="181" y="317"/>
                </a:cubicBezTo>
                <a:cubicBezTo>
                  <a:pt x="181" y="317"/>
                  <a:pt x="181" y="317"/>
                  <a:pt x="181" y="317"/>
                </a:cubicBezTo>
                <a:cubicBezTo>
                  <a:pt x="175" y="311"/>
                  <a:pt x="172" y="304"/>
                  <a:pt x="172" y="296"/>
                </a:cubicBezTo>
                <a:cubicBezTo>
                  <a:pt x="172" y="136"/>
                  <a:pt x="172" y="136"/>
                  <a:pt x="172" y="136"/>
                </a:cubicBezTo>
                <a:cubicBezTo>
                  <a:pt x="172" y="128"/>
                  <a:pt x="175" y="120"/>
                  <a:pt x="181" y="115"/>
                </a:cubicBezTo>
                <a:cubicBezTo>
                  <a:pt x="181" y="115"/>
                  <a:pt x="181" y="115"/>
                  <a:pt x="181" y="115"/>
                </a:cubicBezTo>
                <a:cubicBezTo>
                  <a:pt x="186" y="109"/>
                  <a:pt x="194" y="106"/>
                  <a:pt x="202" y="106"/>
                </a:cubicBezTo>
                <a:cubicBezTo>
                  <a:pt x="427" y="106"/>
                  <a:pt x="427" y="106"/>
                  <a:pt x="427" y="106"/>
                </a:cubicBezTo>
                <a:cubicBezTo>
                  <a:pt x="436" y="106"/>
                  <a:pt x="443" y="109"/>
                  <a:pt x="449" y="115"/>
                </a:cubicBezTo>
                <a:cubicBezTo>
                  <a:pt x="454" y="120"/>
                  <a:pt x="458" y="128"/>
                  <a:pt x="458" y="136"/>
                </a:cubicBezTo>
                <a:cubicBezTo>
                  <a:pt x="458" y="296"/>
                  <a:pt x="458" y="296"/>
                  <a:pt x="458" y="296"/>
                </a:cubicBezTo>
                <a:cubicBezTo>
                  <a:pt x="458" y="304"/>
                  <a:pt x="454" y="311"/>
                  <a:pt x="449" y="317"/>
                </a:cubicBezTo>
                <a:cubicBezTo>
                  <a:pt x="449" y="317"/>
                  <a:pt x="449" y="317"/>
                  <a:pt x="449" y="317"/>
                </a:cubicBezTo>
                <a:cubicBezTo>
                  <a:pt x="443" y="323"/>
                  <a:pt x="436" y="326"/>
                  <a:pt x="427" y="326"/>
                </a:cubicBezTo>
                <a:cubicBezTo>
                  <a:pt x="388" y="326"/>
                  <a:pt x="388" y="326"/>
                  <a:pt x="388" y="326"/>
                </a:cubicBezTo>
                <a:cubicBezTo>
                  <a:pt x="388" y="347"/>
                  <a:pt x="388" y="347"/>
                  <a:pt x="388" y="347"/>
                </a:cubicBezTo>
                <a:cubicBezTo>
                  <a:pt x="404" y="347"/>
                  <a:pt x="404" y="347"/>
                  <a:pt x="404" y="347"/>
                </a:cubicBezTo>
                <a:cubicBezTo>
                  <a:pt x="408" y="347"/>
                  <a:pt x="411" y="350"/>
                  <a:pt x="411" y="354"/>
                </a:cubicBezTo>
                <a:cubicBezTo>
                  <a:pt x="411" y="385"/>
                  <a:pt x="411" y="385"/>
                  <a:pt x="411" y="385"/>
                </a:cubicBezTo>
                <a:cubicBezTo>
                  <a:pt x="411" y="389"/>
                  <a:pt x="408" y="392"/>
                  <a:pt x="404" y="392"/>
                </a:cubicBezTo>
                <a:cubicBezTo>
                  <a:pt x="322" y="392"/>
                  <a:pt x="322" y="392"/>
                  <a:pt x="322" y="392"/>
                </a:cubicBezTo>
                <a:cubicBezTo>
                  <a:pt x="322" y="440"/>
                  <a:pt x="322" y="440"/>
                  <a:pt x="322" y="440"/>
                </a:cubicBezTo>
                <a:cubicBezTo>
                  <a:pt x="327" y="442"/>
                  <a:pt x="331" y="444"/>
                  <a:pt x="335" y="448"/>
                </a:cubicBezTo>
                <a:cubicBezTo>
                  <a:pt x="335" y="448"/>
                  <a:pt x="335" y="448"/>
                  <a:pt x="335" y="448"/>
                </a:cubicBezTo>
                <a:cubicBezTo>
                  <a:pt x="338" y="451"/>
                  <a:pt x="341" y="455"/>
                  <a:pt x="342" y="460"/>
                </a:cubicBezTo>
                <a:cubicBezTo>
                  <a:pt x="440" y="460"/>
                  <a:pt x="440" y="460"/>
                  <a:pt x="440" y="460"/>
                </a:cubicBezTo>
                <a:cubicBezTo>
                  <a:pt x="444" y="460"/>
                  <a:pt x="447" y="462"/>
                  <a:pt x="447" y="466"/>
                </a:cubicBezTo>
                <a:cubicBezTo>
                  <a:pt x="447" y="470"/>
                  <a:pt x="444" y="473"/>
                  <a:pt x="440" y="473"/>
                </a:cubicBezTo>
                <a:cubicBezTo>
                  <a:pt x="343" y="473"/>
                  <a:pt x="343" y="473"/>
                  <a:pt x="343" y="473"/>
                </a:cubicBezTo>
                <a:cubicBezTo>
                  <a:pt x="341" y="478"/>
                  <a:pt x="339" y="483"/>
                  <a:pt x="335" y="487"/>
                </a:cubicBezTo>
                <a:cubicBezTo>
                  <a:pt x="335" y="487"/>
                  <a:pt x="335" y="487"/>
                  <a:pt x="335" y="487"/>
                </a:cubicBezTo>
                <a:cubicBezTo>
                  <a:pt x="330" y="492"/>
                  <a:pt x="323" y="495"/>
                  <a:pt x="315" y="495"/>
                </a:cubicBezTo>
                <a:cubicBezTo>
                  <a:pt x="308" y="495"/>
                  <a:pt x="301" y="492"/>
                  <a:pt x="296" y="487"/>
                </a:cubicBezTo>
                <a:cubicBezTo>
                  <a:pt x="292" y="483"/>
                  <a:pt x="289" y="478"/>
                  <a:pt x="288" y="473"/>
                </a:cubicBezTo>
                <a:cubicBezTo>
                  <a:pt x="104" y="473"/>
                  <a:pt x="104" y="473"/>
                  <a:pt x="104" y="473"/>
                </a:cubicBezTo>
                <a:cubicBezTo>
                  <a:pt x="103" y="478"/>
                  <a:pt x="100" y="483"/>
                  <a:pt x="96" y="487"/>
                </a:cubicBezTo>
                <a:cubicBezTo>
                  <a:pt x="91" y="492"/>
                  <a:pt x="84" y="495"/>
                  <a:pt x="77" y="495"/>
                </a:cubicBezTo>
                <a:cubicBezTo>
                  <a:pt x="69" y="495"/>
                  <a:pt x="62" y="492"/>
                  <a:pt x="57" y="487"/>
                </a:cubicBezTo>
                <a:cubicBezTo>
                  <a:pt x="57" y="487"/>
                  <a:pt x="57" y="487"/>
                  <a:pt x="57" y="487"/>
                </a:cubicBezTo>
                <a:cubicBezTo>
                  <a:pt x="53" y="483"/>
                  <a:pt x="50" y="478"/>
                  <a:pt x="49" y="473"/>
                </a:cubicBezTo>
                <a:close/>
                <a:moveTo>
                  <a:pt x="326" y="457"/>
                </a:moveTo>
                <a:cubicBezTo>
                  <a:pt x="323" y="454"/>
                  <a:pt x="319" y="453"/>
                  <a:pt x="315" y="453"/>
                </a:cubicBezTo>
                <a:cubicBezTo>
                  <a:pt x="311" y="453"/>
                  <a:pt x="307" y="454"/>
                  <a:pt x="305" y="457"/>
                </a:cubicBezTo>
                <a:cubicBezTo>
                  <a:pt x="302" y="460"/>
                  <a:pt x="300" y="463"/>
                  <a:pt x="300" y="467"/>
                </a:cubicBezTo>
                <a:cubicBezTo>
                  <a:pt x="300" y="471"/>
                  <a:pt x="302" y="475"/>
                  <a:pt x="305" y="478"/>
                </a:cubicBezTo>
                <a:cubicBezTo>
                  <a:pt x="307" y="480"/>
                  <a:pt x="311" y="482"/>
                  <a:pt x="315" y="482"/>
                </a:cubicBezTo>
                <a:cubicBezTo>
                  <a:pt x="319" y="482"/>
                  <a:pt x="323" y="480"/>
                  <a:pt x="326" y="478"/>
                </a:cubicBezTo>
                <a:cubicBezTo>
                  <a:pt x="328" y="475"/>
                  <a:pt x="330" y="471"/>
                  <a:pt x="330" y="467"/>
                </a:cubicBezTo>
                <a:cubicBezTo>
                  <a:pt x="330" y="463"/>
                  <a:pt x="328" y="460"/>
                  <a:pt x="326" y="457"/>
                </a:cubicBezTo>
                <a:close/>
                <a:moveTo>
                  <a:pt x="398" y="379"/>
                </a:moveTo>
                <a:cubicBezTo>
                  <a:pt x="398" y="360"/>
                  <a:pt x="398" y="360"/>
                  <a:pt x="398" y="360"/>
                </a:cubicBezTo>
                <a:cubicBezTo>
                  <a:pt x="388" y="360"/>
                  <a:pt x="388" y="360"/>
                  <a:pt x="388" y="360"/>
                </a:cubicBezTo>
                <a:cubicBezTo>
                  <a:pt x="382" y="360"/>
                  <a:pt x="382" y="360"/>
                  <a:pt x="382" y="360"/>
                </a:cubicBezTo>
                <a:cubicBezTo>
                  <a:pt x="249" y="360"/>
                  <a:pt x="249" y="360"/>
                  <a:pt x="249" y="360"/>
                </a:cubicBezTo>
                <a:cubicBezTo>
                  <a:pt x="242" y="360"/>
                  <a:pt x="242" y="360"/>
                  <a:pt x="242" y="360"/>
                </a:cubicBezTo>
                <a:cubicBezTo>
                  <a:pt x="232" y="360"/>
                  <a:pt x="232" y="360"/>
                  <a:pt x="232" y="360"/>
                </a:cubicBezTo>
                <a:cubicBezTo>
                  <a:pt x="232" y="379"/>
                  <a:pt x="232" y="379"/>
                  <a:pt x="232" y="379"/>
                </a:cubicBezTo>
                <a:cubicBezTo>
                  <a:pt x="398" y="379"/>
                  <a:pt x="398" y="379"/>
                  <a:pt x="398" y="379"/>
                </a:cubicBezTo>
                <a:close/>
                <a:moveTo>
                  <a:pt x="375" y="347"/>
                </a:moveTo>
                <a:cubicBezTo>
                  <a:pt x="375" y="326"/>
                  <a:pt x="375" y="326"/>
                  <a:pt x="375" y="326"/>
                </a:cubicBezTo>
                <a:cubicBezTo>
                  <a:pt x="255" y="326"/>
                  <a:pt x="255" y="326"/>
                  <a:pt x="255" y="326"/>
                </a:cubicBezTo>
                <a:cubicBezTo>
                  <a:pt x="255" y="347"/>
                  <a:pt x="255" y="347"/>
                  <a:pt x="255" y="347"/>
                </a:cubicBezTo>
                <a:cubicBezTo>
                  <a:pt x="375" y="347"/>
                  <a:pt x="375" y="347"/>
                  <a:pt x="375" y="347"/>
                </a:cubicBezTo>
                <a:close/>
                <a:moveTo>
                  <a:pt x="229" y="226"/>
                </a:moveTo>
                <a:cubicBezTo>
                  <a:pt x="287" y="166"/>
                  <a:pt x="287" y="166"/>
                  <a:pt x="287" y="166"/>
                </a:cubicBezTo>
                <a:cubicBezTo>
                  <a:pt x="289" y="163"/>
                  <a:pt x="289" y="159"/>
                  <a:pt x="286" y="157"/>
                </a:cubicBezTo>
                <a:cubicBezTo>
                  <a:pt x="284" y="154"/>
                  <a:pt x="280" y="154"/>
                  <a:pt x="277" y="157"/>
                </a:cubicBezTo>
                <a:cubicBezTo>
                  <a:pt x="219" y="217"/>
                  <a:pt x="219" y="217"/>
                  <a:pt x="219" y="217"/>
                </a:cubicBezTo>
                <a:cubicBezTo>
                  <a:pt x="217" y="220"/>
                  <a:pt x="217" y="224"/>
                  <a:pt x="219" y="226"/>
                </a:cubicBezTo>
                <a:cubicBezTo>
                  <a:pt x="222" y="229"/>
                  <a:pt x="226" y="229"/>
                  <a:pt x="229" y="226"/>
                </a:cubicBezTo>
                <a:close/>
                <a:moveTo>
                  <a:pt x="223" y="189"/>
                </a:moveTo>
                <a:cubicBezTo>
                  <a:pt x="255" y="157"/>
                  <a:pt x="255" y="157"/>
                  <a:pt x="255" y="157"/>
                </a:cubicBezTo>
                <a:cubicBezTo>
                  <a:pt x="258" y="155"/>
                  <a:pt x="258" y="151"/>
                  <a:pt x="255" y="148"/>
                </a:cubicBezTo>
                <a:cubicBezTo>
                  <a:pt x="253" y="145"/>
                  <a:pt x="249" y="145"/>
                  <a:pt x="246" y="148"/>
                </a:cubicBezTo>
                <a:cubicBezTo>
                  <a:pt x="214" y="180"/>
                  <a:pt x="214" y="180"/>
                  <a:pt x="214" y="180"/>
                </a:cubicBezTo>
                <a:cubicBezTo>
                  <a:pt x="212" y="182"/>
                  <a:pt x="212" y="186"/>
                  <a:pt x="214" y="189"/>
                </a:cubicBezTo>
                <a:cubicBezTo>
                  <a:pt x="217" y="191"/>
                  <a:pt x="221" y="191"/>
                  <a:pt x="223" y="189"/>
                </a:cubicBezTo>
                <a:close/>
                <a:moveTo>
                  <a:pt x="192" y="254"/>
                </a:moveTo>
                <a:cubicBezTo>
                  <a:pt x="192" y="146"/>
                  <a:pt x="192" y="146"/>
                  <a:pt x="192" y="146"/>
                </a:cubicBezTo>
                <a:cubicBezTo>
                  <a:pt x="192" y="141"/>
                  <a:pt x="194" y="136"/>
                  <a:pt x="197" y="132"/>
                </a:cubicBezTo>
                <a:cubicBezTo>
                  <a:pt x="201" y="129"/>
                  <a:pt x="206" y="127"/>
                  <a:pt x="211" y="127"/>
                </a:cubicBezTo>
                <a:cubicBezTo>
                  <a:pt x="418" y="127"/>
                  <a:pt x="418" y="127"/>
                  <a:pt x="418" y="127"/>
                </a:cubicBezTo>
                <a:cubicBezTo>
                  <a:pt x="424" y="127"/>
                  <a:pt x="428" y="129"/>
                  <a:pt x="432" y="132"/>
                </a:cubicBezTo>
                <a:cubicBezTo>
                  <a:pt x="432" y="132"/>
                  <a:pt x="432" y="132"/>
                  <a:pt x="432" y="132"/>
                </a:cubicBezTo>
                <a:cubicBezTo>
                  <a:pt x="435" y="136"/>
                  <a:pt x="438" y="141"/>
                  <a:pt x="438" y="146"/>
                </a:cubicBezTo>
                <a:cubicBezTo>
                  <a:pt x="438" y="254"/>
                  <a:pt x="438" y="254"/>
                  <a:pt x="438" y="254"/>
                </a:cubicBezTo>
                <a:cubicBezTo>
                  <a:pt x="445" y="254"/>
                  <a:pt x="445" y="254"/>
                  <a:pt x="445" y="254"/>
                </a:cubicBezTo>
                <a:cubicBezTo>
                  <a:pt x="445" y="136"/>
                  <a:pt x="445" y="136"/>
                  <a:pt x="445" y="136"/>
                </a:cubicBezTo>
                <a:cubicBezTo>
                  <a:pt x="445" y="132"/>
                  <a:pt x="443" y="127"/>
                  <a:pt x="440" y="124"/>
                </a:cubicBezTo>
                <a:cubicBezTo>
                  <a:pt x="437" y="121"/>
                  <a:pt x="432" y="119"/>
                  <a:pt x="427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7" y="119"/>
                  <a:pt x="193" y="121"/>
                  <a:pt x="190" y="124"/>
                </a:cubicBezTo>
                <a:cubicBezTo>
                  <a:pt x="190" y="124"/>
                  <a:pt x="190" y="124"/>
                  <a:pt x="190" y="124"/>
                </a:cubicBezTo>
                <a:cubicBezTo>
                  <a:pt x="187" y="127"/>
                  <a:pt x="185" y="132"/>
                  <a:pt x="185" y="136"/>
                </a:cubicBezTo>
                <a:cubicBezTo>
                  <a:pt x="185" y="254"/>
                  <a:pt x="185" y="254"/>
                  <a:pt x="185" y="254"/>
                </a:cubicBezTo>
                <a:cubicBezTo>
                  <a:pt x="192" y="254"/>
                  <a:pt x="192" y="254"/>
                  <a:pt x="192" y="254"/>
                </a:cubicBezTo>
                <a:close/>
                <a:moveTo>
                  <a:pt x="424" y="254"/>
                </a:moveTo>
                <a:cubicBezTo>
                  <a:pt x="424" y="146"/>
                  <a:pt x="424" y="146"/>
                  <a:pt x="424" y="146"/>
                </a:cubicBezTo>
                <a:cubicBezTo>
                  <a:pt x="424" y="144"/>
                  <a:pt x="424" y="143"/>
                  <a:pt x="423" y="142"/>
                </a:cubicBezTo>
                <a:cubicBezTo>
                  <a:pt x="423" y="142"/>
                  <a:pt x="423" y="142"/>
                  <a:pt x="423" y="142"/>
                </a:cubicBezTo>
                <a:cubicBezTo>
                  <a:pt x="422" y="140"/>
                  <a:pt x="420" y="140"/>
                  <a:pt x="418" y="140"/>
                </a:cubicBezTo>
                <a:cubicBezTo>
                  <a:pt x="211" y="140"/>
                  <a:pt x="211" y="140"/>
                  <a:pt x="211" y="140"/>
                </a:cubicBezTo>
                <a:cubicBezTo>
                  <a:pt x="209" y="140"/>
                  <a:pt x="208" y="140"/>
                  <a:pt x="207" y="142"/>
                </a:cubicBezTo>
                <a:cubicBezTo>
                  <a:pt x="206" y="143"/>
                  <a:pt x="205" y="144"/>
                  <a:pt x="205" y="146"/>
                </a:cubicBezTo>
                <a:cubicBezTo>
                  <a:pt x="205" y="254"/>
                  <a:pt x="205" y="254"/>
                  <a:pt x="205" y="254"/>
                </a:cubicBezTo>
                <a:cubicBezTo>
                  <a:pt x="424" y="254"/>
                  <a:pt x="424" y="254"/>
                  <a:pt x="424" y="254"/>
                </a:cubicBezTo>
                <a:close/>
                <a:moveTo>
                  <a:pt x="315" y="273"/>
                </a:moveTo>
                <a:cubicBezTo>
                  <a:pt x="310" y="273"/>
                  <a:pt x="305" y="275"/>
                  <a:pt x="302" y="278"/>
                </a:cubicBezTo>
                <a:cubicBezTo>
                  <a:pt x="302" y="278"/>
                  <a:pt x="302" y="278"/>
                  <a:pt x="302" y="278"/>
                </a:cubicBezTo>
                <a:cubicBezTo>
                  <a:pt x="299" y="281"/>
                  <a:pt x="297" y="286"/>
                  <a:pt x="297" y="291"/>
                </a:cubicBezTo>
                <a:cubicBezTo>
                  <a:pt x="297" y="296"/>
                  <a:pt x="299" y="300"/>
                  <a:pt x="302" y="303"/>
                </a:cubicBezTo>
                <a:cubicBezTo>
                  <a:pt x="302" y="303"/>
                  <a:pt x="302" y="303"/>
                  <a:pt x="302" y="303"/>
                </a:cubicBezTo>
                <a:cubicBezTo>
                  <a:pt x="305" y="307"/>
                  <a:pt x="310" y="309"/>
                  <a:pt x="315" y="309"/>
                </a:cubicBezTo>
                <a:cubicBezTo>
                  <a:pt x="320" y="309"/>
                  <a:pt x="324" y="307"/>
                  <a:pt x="327" y="303"/>
                </a:cubicBezTo>
                <a:cubicBezTo>
                  <a:pt x="327" y="303"/>
                  <a:pt x="327" y="303"/>
                  <a:pt x="327" y="303"/>
                </a:cubicBezTo>
                <a:cubicBezTo>
                  <a:pt x="331" y="300"/>
                  <a:pt x="333" y="296"/>
                  <a:pt x="333" y="291"/>
                </a:cubicBezTo>
                <a:cubicBezTo>
                  <a:pt x="333" y="286"/>
                  <a:pt x="331" y="281"/>
                  <a:pt x="327" y="278"/>
                </a:cubicBezTo>
                <a:cubicBezTo>
                  <a:pt x="324" y="275"/>
                  <a:pt x="320" y="273"/>
                  <a:pt x="315" y="273"/>
                </a:cubicBezTo>
                <a:close/>
                <a:moveTo>
                  <a:pt x="318" y="287"/>
                </a:moveTo>
                <a:cubicBezTo>
                  <a:pt x="317" y="287"/>
                  <a:pt x="316" y="286"/>
                  <a:pt x="315" y="286"/>
                </a:cubicBezTo>
                <a:cubicBezTo>
                  <a:pt x="313" y="286"/>
                  <a:pt x="312" y="287"/>
                  <a:pt x="311" y="287"/>
                </a:cubicBezTo>
                <a:cubicBezTo>
                  <a:pt x="311" y="288"/>
                  <a:pt x="310" y="289"/>
                  <a:pt x="310" y="291"/>
                </a:cubicBezTo>
                <a:cubicBezTo>
                  <a:pt x="310" y="292"/>
                  <a:pt x="311" y="293"/>
                  <a:pt x="311" y="294"/>
                </a:cubicBezTo>
                <a:cubicBezTo>
                  <a:pt x="312" y="295"/>
                  <a:pt x="313" y="296"/>
                  <a:pt x="315" y="296"/>
                </a:cubicBezTo>
                <a:cubicBezTo>
                  <a:pt x="316" y="296"/>
                  <a:pt x="317" y="295"/>
                  <a:pt x="318" y="294"/>
                </a:cubicBezTo>
                <a:cubicBezTo>
                  <a:pt x="318" y="294"/>
                  <a:pt x="318" y="294"/>
                  <a:pt x="318" y="294"/>
                </a:cubicBezTo>
                <a:cubicBezTo>
                  <a:pt x="319" y="293"/>
                  <a:pt x="319" y="292"/>
                  <a:pt x="319" y="291"/>
                </a:cubicBezTo>
                <a:cubicBezTo>
                  <a:pt x="319" y="289"/>
                  <a:pt x="319" y="288"/>
                  <a:pt x="318" y="287"/>
                </a:cubicBezTo>
                <a:close/>
                <a:moveTo>
                  <a:pt x="445" y="267"/>
                </a:moveTo>
                <a:cubicBezTo>
                  <a:pt x="185" y="267"/>
                  <a:pt x="185" y="267"/>
                  <a:pt x="185" y="267"/>
                </a:cubicBezTo>
                <a:cubicBezTo>
                  <a:pt x="185" y="296"/>
                  <a:pt x="185" y="296"/>
                  <a:pt x="185" y="296"/>
                </a:cubicBezTo>
                <a:cubicBezTo>
                  <a:pt x="185" y="300"/>
                  <a:pt x="187" y="305"/>
                  <a:pt x="190" y="308"/>
                </a:cubicBezTo>
                <a:cubicBezTo>
                  <a:pt x="193" y="311"/>
                  <a:pt x="197" y="313"/>
                  <a:pt x="202" y="313"/>
                </a:cubicBezTo>
                <a:cubicBezTo>
                  <a:pt x="427" y="313"/>
                  <a:pt x="427" y="313"/>
                  <a:pt x="427" y="313"/>
                </a:cubicBezTo>
                <a:cubicBezTo>
                  <a:pt x="432" y="313"/>
                  <a:pt x="437" y="311"/>
                  <a:pt x="440" y="308"/>
                </a:cubicBezTo>
                <a:cubicBezTo>
                  <a:pt x="440" y="308"/>
                  <a:pt x="440" y="308"/>
                  <a:pt x="440" y="308"/>
                </a:cubicBezTo>
                <a:cubicBezTo>
                  <a:pt x="443" y="305"/>
                  <a:pt x="445" y="300"/>
                  <a:pt x="445" y="296"/>
                </a:cubicBezTo>
                <a:cubicBezTo>
                  <a:pt x="445" y="267"/>
                  <a:pt x="445" y="267"/>
                  <a:pt x="445" y="267"/>
                </a:cubicBezTo>
                <a:close/>
                <a:moveTo>
                  <a:pt x="13" y="168"/>
                </a:moveTo>
                <a:cubicBezTo>
                  <a:pt x="140" y="168"/>
                  <a:pt x="140" y="168"/>
                  <a:pt x="140" y="168"/>
                </a:cubicBezTo>
                <a:cubicBezTo>
                  <a:pt x="140" y="136"/>
                  <a:pt x="140" y="136"/>
                  <a:pt x="140" y="136"/>
                </a:cubicBezTo>
                <a:cubicBezTo>
                  <a:pt x="13" y="136"/>
                  <a:pt x="13" y="136"/>
                  <a:pt x="13" y="136"/>
                </a:cubicBezTo>
                <a:cubicBezTo>
                  <a:pt x="13" y="168"/>
                  <a:pt x="13" y="168"/>
                  <a:pt x="13" y="168"/>
                </a:cubicBezTo>
                <a:close/>
                <a:moveTo>
                  <a:pt x="140" y="181"/>
                </a:moveTo>
                <a:cubicBezTo>
                  <a:pt x="13" y="181"/>
                  <a:pt x="13" y="181"/>
                  <a:pt x="13" y="181"/>
                </a:cubicBezTo>
                <a:cubicBezTo>
                  <a:pt x="13" y="282"/>
                  <a:pt x="13" y="282"/>
                  <a:pt x="13" y="282"/>
                </a:cubicBezTo>
                <a:cubicBezTo>
                  <a:pt x="13" y="284"/>
                  <a:pt x="14" y="286"/>
                  <a:pt x="16" y="288"/>
                </a:cubicBezTo>
                <a:cubicBezTo>
                  <a:pt x="17" y="289"/>
                  <a:pt x="19" y="290"/>
                  <a:pt x="21" y="290"/>
                </a:cubicBezTo>
                <a:cubicBezTo>
                  <a:pt x="132" y="290"/>
                  <a:pt x="132" y="290"/>
                  <a:pt x="132" y="290"/>
                </a:cubicBezTo>
                <a:cubicBezTo>
                  <a:pt x="134" y="290"/>
                  <a:pt x="136" y="289"/>
                  <a:pt x="138" y="288"/>
                </a:cubicBezTo>
                <a:cubicBezTo>
                  <a:pt x="139" y="286"/>
                  <a:pt x="140" y="284"/>
                  <a:pt x="140" y="282"/>
                </a:cubicBezTo>
                <a:cubicBezTo>
                  <a:pt x="140" y="181"/>
                  <a:pt x="140" y="181"/>
                  <a:pt x="140" y="181"/>
                </a:cubicBezTo>
                <a:close/>
                <a:moveTo>
                  <a:pt x="13" y="78"/>
                </a:moveTo>
                <a:cubicBezTo>
                  <a:pt x="140" y="78"/>
                  <a:pt x="140" y="78"/>
                  <a:pt x="140" y="78"/>
                </a:cubicBezTo>
                <a:cubicBezTo>
                  <a:pt x="140" y="21"/>
                  <a:pt x="140" y="21"/>
                  <a:pt x="140" y="21"/>
                </a:cubicBezTo>
                <a:cubicBezTo>
                  <a:pt x="140" y="19"/>
                  <a:pt x="139" y="17"/>
                  <a:pt x="138" y="16"/>
                </a:cubicBezTo>
                <a:cubicBezTo>
                  <a:pt x="136" y="14"/>
                  <a:pt x="134" y="13"/>
                  <a:pt x="132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19" y="13"/>
                  <a:pt x="17" y="14"/>
                  <a:pt x="16" y="16"/>
                </a:cubicBezTo>
                <a:cubicBezTo>
                  <a:pt x="14" y="17"/>
                  <a:pt x="13" y="19"/>
                  <a:pt x="13" y="21"/>
                </a:cubicBezTo>
                <a:cubicBezTo>
                  <a:pt x="13" y="78"/>
                  <a:pt x="13" y="78"/>
                  <a:pt x="13" y="78"/>
                </a:cubicBezTo>
                <a:close/>
                <a:moveTo>
                  <a:pt x="140" y="91"/>
                </a:moveTo>
                <a:cubicBezTo>
                  <a:pt x="13" y="91"/>
                  <a:pt x="13" y="91"/>
                  <a:pt x="13" y="91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40" y="123"/>
                  <a:pt x="140" y="123"/>
                  <a:pt x="140" y="123"/>
                </a:cubicBezTo>
                <a:cubicBezTo>
                  <a:pt x="140" y="91"/>
                  <a:pt x="140" y="91"/>
                  <a:pt x="140" y="91"/>
                </a:cubicBezTo>
                <a:close/>
                <a:moveTo>
                  <a:pt x="109" y="194"/>
                </a:moveTo>
                <a:cubicBezTo>
                  <a:pt x="104" y="194"/>
                  <a:pt x="99" y="196"/>
                  <a:pt x="96" y="200"/>
                </a:cubicBezTo>
                <a:cubicBezTo>
                  <a:pt x="96" y="200"/>
                  <a:pt x="96" y="200"/>
                  <a:pt x="96" y="200"/>
                </a:cubicBezTo>
                <a:cubicBezTo>
                  <a:pt x="92" y="203"/>
                  <a:pt x="90" y="208"/>
                  <a:pt x="90" y="213"/>
                </a:cubicBezTo>
                <a:cubicBezTo>
                  <a:pt x="90" y="219"/>
                  <a:pt x="92" y="223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9" y="231"/>
                  <a:pt x="104" y="233"/>
                  <a:pt x="109" y="233"/>
                </a:cubicBezTo>
                <a:cubicBezTo>
                  <a:pt x="115" y="233"/>
                  <a:pt x="120" y="231"/>
                  <a:pt x="123" y="227"/>
                </a:cubicBezTo>
                <a:cubicBezTo>
                  <a:pt x="123" y="227"/>
                  <a:pt x="123" y="227"/>
                  <a:pt x="123" y="227"/>
                </a:cubicBezTo>
                <a:cubicBezTo>
                  <a:pt x="127" y="224"/>
                  <a:pt x="129" y="219"/>
                  <a:pt x="129" y="213"/>
                </a:cubicBezTo>
                <a:cubicBezTo>
                  <a:pt x="129" y="208"/>
                  <a:pt x="127" y="203"/>
                  <a:pt x="123" y="200"/>
                </a:cubicBezTo>
                <a:cubicBezTo>
                  <a:pt x="120" y="196"/>
                  <a:pt x="115" y="194"/>
                  <a:pt x="109" y="194"/>
                </a:cubicBezTo>
                <a:close/>
                <a:moveTo>
                  <a:pt x="114" y="209"/>
                </a:moveTo>
                <a:cubicBezTo>
                  <a:pt x="113" y="208"/>
                  <a:pt x="111" y="207"/>
                  <a:pt x="109" y="207"/>
                </a:cubicBezTo>
                <a:cubicBezTo>
                  <a:pt x="108" y="207"/>
                  <a:pt x="106" y="208"/>
                  <a:pt x="105" y="209"/>
                </a:cubicBezTo>
                <a:cubicBezTo>
                  <a:pt x="105" y="209"/>
                  <a:pt x="105" y="209"/>
                  <a:pt x="105" y="209"/>
                </a:cubicBezTo>
                <a:cubicBezTo>
                  <a:pt x="104" y="210"/>
                  <a:pt x="103" y="212"/>
                  <a:pt x="103" y="213"/>
                </a:cubicBezTo>
                <a:cubicBezTo>
                  <a:pt x="103" y="215"/>
                  <a:pt x="104" y="217"/>
                  <a:pt x="105" y="218"/>
                </a:cubicBezTo>
                <a:cubicBezTo>
                  <a:pt x="105" y="218"/>
                  <a:pt x="105" y="218"/>
                  <a:pt x="105" y="218"/>
                </a:cubicBezTo>
                <a:cubicBezTo>
                  <a:pt x="106" y="219"/>
                  <a:pt x="108" y="220"/>
                  <a:pt x="109" y="220"/>
                </a:cubicBezTo>
                <a:cubicBezTo>
                  <a:pt x="111" y="220"/>
                  <a:pt x="113" y="219"/>
                  <a:pt x="114" y="218"/>
                </a:cubicBezTo>
                <a:cubicBezTo>
                  <a:pt x="114" y="218"/>
                  <a:pt x="114" y="218"/>
                  <a:pt x="114" y="218"/>
                </a:cubicBezTo>
                <a:cubicBezTo>
                  <a:pt x="115" y="217"/>
                  <a:pt x="116" y="215"/>
                  <a:pt x="116" y="213"/>
                </a:cubicBezTo>
                <a:cubicBezTo>
                  <a:pt x="116" y="212"/>
                  <a:pt x="115" y="210"/>
                  <a:pt x="114" y="209"/>
                </a:cubicBezTo>
                <a:close/>
                <a:moveTo>
                  <a:pt x="109" y="237"/>
                </a:moveTo>
                <a:cubicBezTo>
                  <a:pt x="103" y="237"/>
                  <a:pt x="98" y="240"/>
                  <a:pt x="94" y="244"/>
                </a:cubicBezTo>
                <a:cubicBezTo>
                  <a:pt x="90" y="248"/>
                  <a:pt x="87" y="254"/>
                  <a:pt x="87" y="260"/>
                </a:cubicBezTo>
                <a:cubicBezTo>
                  <a:pt x="87" y="266"/>
                  <a:pt x="90" y="272"/>
                  <a:pt x="94" y="276"/>
                </a:cubicBezTo>
                <a:cubicBezTo>
                  <a:pt x="98" y="280"/>
                  <a:pt x="103" y="282"/>
                  <a:pt x="109" y="282"/>
                </a:cubicBezTo>
                <a:cubicBezTo>
                  <a:pt x="116" y="282"/>
                  <a:pt x="121" y="280"/>
                  <a:pt x="125" y="276"/>
                </a:cubicBezTo>
                <a:cubicBezTo>
                  <a:pt x="129" y="272"/>
                  <a:pt x="132" y="266"/>
                  <a:pt x="132" y="260"/>
                </a:cubicBezTo>
                <a:cubicBezTo>
                  <a:pt x="132" y="254"/>
                  <a:pt x="129" y="248"/>
                  <a:pt x="125" y="244"/>
                </a:cubicBezTo>
                <a:cubicBezTo>
                  <a:pt x="121" y="240"/>
                  <a:pt x="116" y="237"/>
                  <a:pt x="109" y="237"/>
                </a:cubicBezTo>
                <a:close/>
                <a:moveTo>
                  <a:pt x="116" y="253"/>
                </a:moveTo>
                <a:cubicBezTo>
                  <a:pt x="114" y="252"/>
                  <a:pt x="112" y="251"/>
                  <a:pt x="109" y="251"/>
                </a:cubicBezTo>
                <a:cubicBezTo>
                  <a:pt x="107" y="251"/>
                  <a:pt x="105" y="252"/>
                  <a:pt x="103" y="253"/>
                </a:cubicBezTo>
                <a:cubicBezTo>
                  <a:pt x="101" y="255"/>
                  <a:pt x="100" y="257"/>
                  <a:pt x="100" y="260"/>
                </a:cubicBezTo>
                <a:cubicBezTo>
                  <a:pt x="100" y="262"/>
                  <a:pt x="101" y="265"/>
                  <a:pt x="103" y="267"/>
                </a:cubicBezTo>
                <a:cubicBezTo>
                  <a:pt x="105" y="268"/>
                  <a:pt x="107" y="269"/>
                  <a:pt x="109" y="269"/>
                </a:cubicBezTo>
                <a:cubicBezTo>
                  <a:pt x="112" y="269"/>
                  <a:pt x="114" y="268"/>
                  <a:pt x="116" y="267"/>
                </a:cubicBezTo>
                <a:cubicBezTo>
                  <a:pt x="118" y="265"/>
                  <a:pt x="119" y="262"/>
                  <a:pt x="119" y="260"/>
                </a:cubicBezTo>
                <a:cubicBezTo>
                  <a:pt x="119" y="257"/>
                  <a:pt x="118" y="255"/>
                  <a:pt x="116" y="253"/>
                </a:cubicBezTo>
                <a:close/>
                <a:moveTo>
                  <a:pt x="87" y="457"/>
                </a:moveTo>
                <a:cubicBezTo>
                  <a:pt x="84" y="454"/>
                  <a:pt x="81" y="453"/>
                  <a:pt x="77" y="453"/>
                </a:cubicBezTo>
                <a:cubicBezTo>
                  <a:pt x="73" y="453"/>
                  <a:pt x="69" y="454"/>
                  <a:pt x="66" y="457"/>
                </a:cubicBezTo>
                <a:cubicBezTo>
                  <a:pt x="64" y="460"/>
                  <a:pt x="62" y="463"/>
                  <a:pt x="62" y="467"/>
                </a:cubicBezTo>
                <a:cubicBezTo>
                  <a:pt x="62" y="471"/>
                  <a:pt x="64" y="475"/>
                  <a:pt x="66" y="478"/>
                </a:cubicBezTo>
                <a:cubicBezTo>
                  <a:pt x="69" y="480"/>
                  <a:pt x="73" y="482"/>
                  <a:pt x="77" y="482"/>
                </a:cubicBezTo>
                <a:cubicBezTo>
                  <a:pt x="81" y="482"/>
                  <a:pt x="84" y="480"/>
                  <a:pt x="87" y="478"/>
                </a:cubicBezTo>
                <a:cubicBezTo>
                  <a:pt x="90" y="475"/>
                  <a:pt x="91" y="471"/>
                  <a:pt x="91" y="467"/>
                </a:cubicBezTo>
                <a:cubicBezTo>
                  <a:pt x="91" y="463"/>
                  <a:pt x="90" y="460"/>
                  <a:pt x="87" y="457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Freeform 66"/>
          <p:cNvSpPr>
            <a:spLocks noEditPoints="1"/>
          </p:cNvSpPr>
          <p:nvPr/>
        </p:nvSpPr>
        <p:spPr bwMode="auto">
          <a:xfrm>
            <a:off x="3801033" y="12058134"/>
            <a:ext cx="1836460" cy="1965618"/>
          </a:xfrm>
          <a:custGeom>
            <a:avLst/>
            <a:gdLst>
              <a:gd name="T0" fmla="*/ 63 w 338"/>
              <a:gd name="T1" fmla="*/ 30 h 362"/>
              <a:gd name="T2" fmla="*/ 63 w 338"/>
              <a:gd name="T3" fmla="*/ 5 h 362"/>
              <a:gd name="T4" fmla="*/ 164 w 338"/>
              <a:gd name="T5" fmla="*/ 34 h 362"/>
              <a:gd name="T6" fmla="*/ 181 w 338"/>
              <a:gd name="T7" fmla="*/ 30 h 362"/>
              <a:gd name="T8" fmla="*/ 244 w 338"/>
              <a:gd name="T9" fmla="*/ 11 h 362"/>
              <a:gd name="T10" fmla="*/ 301 w 338"/>
              <a:gd name="T11" fmla="*/ 30 h 362"/>
              <a:gd name="T12" fmla="*/ 233 w 338"/>
              <a:gd name="T13" fmla="*/ 86 h 362"/>
              <a:gd name="T14" fmla="*/ 333 w 338"/>
              <a:gd name="T15" fmla="*/ 136 h 362"/>
              <a:gd name="T16" fmla="*/ 303 w 338"/>
              <a:gd name="T17" fmla="*/ 179 h 362"/>
              <a:gd name="T18" fmla="*/ 303 w 338"/>
              <a:gd name="T19" fmla="*/ 188 h 362"/>
              <a:gd name="T20" fmla="*/ 333 w 338"/>
              <a:gd name="T21" fmla="*/ 231 h 362"/>
              <a:gd name="T22" fmla="*/ 256 w 338"/>
              <a:gd name="T23" fmla="*/ 270 h 362"/>
              <a:gd name="T24" fmla="*/ 229 w 338"/>
              <a:gd name="T25" fmla="*/ 362 h 362"/>
              <a:gd name="T26" fmla="*/ 174 w 338"/>
              <a:gd name="T27" fmla="*/ 328 h 362"/>
              <a:gd name="T28" fmla="*/ 156 w 338"/>
              <a:gd name="T29" fmla="*/ 333 h 362"/>
              <a:gd name="T30" fmla="*/ 127 w 338"/>
              <a:gd name="T31" fmla="*/ 345 h 362"/>
              <a:gd name="T32" fmla="*/ 104 w 338"/>
              <a:gd name="T33" fmla="*/ 328 h 362"/>
              <a:gd name="T34" fmla="*/ 17 w 338"/>
              <a:gd name="T35" fmla="*/ 261 h 362"/>
              <a:gd name="T36" fmla="*/ 34 w 338"/>
              <a:gd name="T37" fmla="*/ 238 h 362"/>
              <a:gd name="T38" fmla="*/ 0 w 338"/>
              <a:gd name="T39" fmla="*/ 183 h 362"/>
              <a:gd name="T40" fmla="*/ 34 w 338"/>
              <a:gd name="T41" fmla="*/ 129 h 362"/>
              <a:gd name="T42" fmla="*/ 30 w 338"/>
              <a:gd name="T43" fmla="*/ 111 h 362"/>
              <a:gd name="T44" fmla="*/ 12 w 338"/>
              <a:gd name="T45" fmla="*/ 129 h 362"/>
              <a:gd name="T46" fmla="*/ 12 w 338"/>
              <a:gd name="T47" fmla="*/ 118 h 362"/>
              <a:gd name="T48" fmla="*/ 23 w 338"/>
              <a:gd name="T49" fmla="*/ 238 h 362"/>
              <a:gd name="T50" fmla="*/ 17 w 338"/>
              <a:gd name="T51" fmla="*/ 191 h 362"/>
              <a:gd name="T52" fmla="*/ 229 w 338"/>
              <a:gd name="T53" fmla="*/ 352 h 362"/>
              <a:gd name="T54" fmla="*/ 223 w 338"/>
              <a:gd name="T55" fmla="*/ 340 h 362"/>
              <a:gd name="T56" fmla="*/ 114 w 338"/>
              <a:gd name="T57" fmla="*/ 340 h 362"/>
              <a:gd name="T58" fmla="*/ 169 w 338"/>
              <a:gd name="T59" fmla="*/ 352 h 362"/>
              <a:gd name="T60" fmla="*/ 161 w 338"/>
              <a:gd name="T61" fmla="*/ 345 h 362"/>
              <a:gd name="T62" fmla="*/ 315 w 338"/>
              <a:gd name="T63" fmla="*/ 129 h 362"/>
              <a:gd name="T64" fmla="*/ 326 w 338"/>
              <a:gd name="T65" fmla="*/ 238 h 362"/>
              <a:gd name="T66" fmla="*/ 328 w 338"/>
              <a:gd name="T67" fmla="*/ 243 h 362"/>
              <a:gd name="T68" fmla="*/ 326 w 338"/>
              <a:gd name="T69" fmla="*/ 189 h 362"/>
              <a:gd name="T70" fmla="*/ 169 w 338"/>
              <a:gd name="T71" fmla="*/ 25 h 362"/>
              <a:gd name="T72" fmla="*/ 281 w 338"/>
              <a:gd name="T73" fmla="*/ 17 h 362"/>
              <a:gd name="T74" fmla="*/ 226 w 338"/>
              <a:gd name="T75" fmla="*/ 197 h 362"/>
              <a:gd name="T76" fmla="*/ 217 w 338"/>
              <a:gd name="T77" fmla="*/ 126 h 362"/>
              <a:gd name="T78" fmla="*/ 217 w 338"/>
              <a:gd name="T79" fmla="*/ 240 h 362"/>
              <a:gd name="T80" fmla="*/ 254 w 338"/>
              <a:gd name="T81" fmla="*/ 175 h 362"/>
              <a:gd name="T82" fmla="*/ 217 w 338"/>
              <a:gd name="T83" fmla="*/ 250 h 362"/>
              <a:gd name="T84" fmla="*/ 82 w 338"/>
              <a:gd name="T85" fmla="*/ 246 h 362"/>
              <a:gd name="T86" fmla="*/ 256 w 338"/>
              <a:gd name="T87" fmla="*/ 200 h 362"/>
              <a:gd name="T88" fmla="*/ 89 w 338"/>
              <a:gd name="T89" fmla="*/ 103 h 362"/>
              <a:gd name="T90" fmla="*/ 230 w 338"/>
              <a:gd name="T91" fmla="*/ 121 h 362"/>
              <a:gd name="T92" fmla="*/ 82 w 338"/>
              <a:gd name="T93" fmla="*/ 191 h 362"/>
              <a:gd name="T94" fmla="*/ 181 w 338"/>
              <a:gd name="T95" fmla="*/ 231 h 362"/>
              <a:gd name="T96" fmla="*/ 129 w 338"/>
              <a:gd name="T97" fmla="*/ 211 h 362"/>
              <a:gd name="T98" fmla="*/ 217 w 338"/>
              <a:gd name="T99" fmla="*/ 196 h 362"/>
              <a:gd name="T100" fmla="*/ 145 w 338"/>
              <a:gd name="T101" fmla="*/ 196 h 362"/>
              <a:gd name="T102" fmla="*/ 129 w 338"/>
              <a:gd name="T103" fmla="*/ 186 h 362"/>
              <a:gd name="T104" fmla="*/ 181 w 338"/>
              <a:gd name="T105" fmla="*/ 181 h 362"/>
              <a:gd name="T106" fmla="*/ 129 w 338"/>
              <a:gd name="T107" fmla="*/ 160 h 362"/>
              <a:gd name="T108" fmla="*/ 217 w 338"/>
              <a:gd name="T109" fmla="*/ 145 h 362"/>
              <a:gd name="T110" fmla="*/ 145 w 338"/>
              <a:gd name="T111" fmla="*/ 145 h 362"/>
              <a:gd name="T112" fmla="*/ 129 w 338"/>
              <a:gd name="T113" fmla="*/ 135 h 362"/>
              <a:gd name="T114" fmla="*/ 50 w 338"/>
              <a:gd name="T115" fmla="*/ 25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8" h="362">
                <a:moveTo>
                  <a:pt x="105" y="86"/>
                </a:moveTo>
                <a:cubicBezTo>
                  <a:pt x="109" y="86"/>
                  <a:pt x="109" y="86"/>
                  <a:pt x="109" y="8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09" y="31"/>
                  <a:pt x="107" y="28"/>
                  <a:pt x="105" y="25"/>
                </a:cubicBezTo>
                <a:cubicBezTo>
                  <a:pt x="103" y="23"/>
                  <a:pt x="99" y="21"/>
                  <a:pt x="95" y="21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5"/>
                  <a:pt x="65" y="27"/>
                  <a:pt x="63" y="30"/>
                </a:cubicBezTo>
                <a:cubicBezTo>
                  <a:pt x="63" y="30"/>
                  <a:pt x="63" y="30"/>
                  <a:pt x="63" y="30"/>
                </a:cubicBezTo>
                <a:cubicBezTo>
                  <a:pt x="59" y="33"/>
                  <a:pt x="55" y="35"/>
                  <a:pt x="50" y="35"/>
                </a:cubicBezTo>
                <a:cubicBezTo>
                  <a:pt x="45" y="35"/>
                  <a:pt x="41" y="33"/>
                  <a:pt x="38" y="30"/>
                </a:cubicBezTo>
                <a:cubicBezTo>
                  <a:pt x="38" y="30"/>
                  <a:pt x="38" y="30"/>
                  <a:pt x="38" y="30"/>
                </a:cubicBezTo>
                <a:cubicBezTo>
                  <a:pt x="35" y="27"/>
                  <a:pt x="33" y="22"/>
                  <a:pt x="33" y="17"/>
                </a:cubicBezTo>
                <a:cubicBezTo>
                  <a:pt x="33" y="13"/>
                  <a:pt x="35" y="8"/>
                  <a:pt x="38" y="5"/>
                </a:cubicBezTo>
                <a:cubicBezTo>
                  <a:pt x="38" y="5"/>
                  <a:pt x="38" y="5"/>
                  <a:pt x="38" y="5"/>
                </a:cubicBezTo>
                <a:cubicBezTo>
                  <a:pt x="41" y="2"/>
                  <a:pt x="45" y="0"/>
                  <a:pt x="50" y="0"/>
                </a:cubicBezTo>
                <a:cubicBezTo>
                  <a:pt x="55" y="0"/>
                  <a:pt x="59" y="2"/>
                  <a:pt x="63" y="5"/>
                </a:cubicBezTo>
                <a:cubicBezTo>
                  <a:pt x="64" y="7"/>
                  <a:pt x="66" y="9"/>
                  <a:pt x="67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102" y="11"/>
                  <a:pt x="108" y="14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6" y="23"/>
                  <a:pt x="119" y="28"/>
                  <a:pt x="119" y="35"/>
                </a:cubicBezTo>
                <a:cubicBezTo>
                  <a:pt x="119" y="86"/>
                  <a:pt x="119" y="86"/>
                  <a:pt x="119" y="86"/>
                </a:cubicBezTo>
                <a:cubicBezTo>
                  <a:pt x="164" y="86"/>
                  <a:pt x="164" y="86"/>
                  <a:pt x="164" y="86"/>
                </a:cubicBezTo>
                <a:cubicBezTo>
                  <a:pt x="164" y="34"/>
                  <a:pt x="164" y="34"/>
                  <a:pt x="164" y="34"/>
                </a:cubicBezTo>
                <a:cubicBezTo>
                  <a:pt x="161" y="33"/>
                  <a:pt x="158" y="32"/>
                  <a:pt x="156" y="30"/>
                </a:cubicBezTo>
                <a:cubicBezTo>
                  <a:pt x="156" y="30"/>
                  <a:pt x="156" y="30"/>
                  <a:pt x="156" y="30"/>
                </a:cubicBezTo>
                <a:cubicBezTo>
                  <a:pt x="153" y="27"/>
                  <a:pt x="151" y="22"/>
                  <a:pt x="151" y="17"/>
                </a:cubicBezTo>
                <a:cubicBezTo>
                  <a:pt x="151" y="13"/>
                  <a:pt x="153" y="8"/>
                  <a:pt x="156" y="5"/>
                </a:cubicBezTo>
                <a:cubicBezTo>
                  <a:pt x="160" y="2"/>
                  <a:pt x="164" y="0"/>
                  <a:pt x="169" y="0"/>
                </a:cubicBezTo>
                <a:cubicBezTo>
                  <a:pt x="174" y="0"/>
                  <a:pt x="178" y="2"/>
                  <a:pt x="181" y="5"/>
                </a:cubicBezTo>
                <a:cubicBezTo>
                  <a:pt x="184" y="8"/>
                  <a:pt x="186" y="13"/>
                  <a:pt x="186" y="17"/>
                </a:cubicBezTo>
                <a:cubicBezTo>
                  <a:pt x="186" y="22"/>
                  <a:pt x="184" y="27"/>
                  <a:pt x="181" y="30"/>
                </a:cubicBezTo>
                <a:cubicBezTo>
                  <a:pt x="181" y="30"/>
                  <a:pt x="181" y="30"/>
                  <a:pt x="181" y="30"/>
                </a:cubicBezTo>
                <a:cubicBezTo>
                  <a:pt x="179" y="32"/>
                  <a:pt x="177" y="33"/>
                  <a:pt x="174" y="34"/>
                </a:cubicBezTo>
                <a:cubicBezTo>
                  <a:pt x="174" y="86"/>
                  <a:pt x="174" y="86"/>
                  <a:pt x="174" y="86"/>
                </a:cubicBezTo>
                <a:cubicBezTo>
                  <a:pt x="220" y="86"/>
                  <a:pt x="220" y="86"/>
                  <a:pt x="220" y="86"/>
                </a:cubicBezTo>
                <a:cubicBezTo>
                  <a:pt x="220" y="35"/>
                  <a:pt x="220" y="35"/>
                  <a:pt x="220" y="35"/>
                </a:cubicBezTo>
                <a:cubicBezTo>
                  <a:pt x="220" y="28"/>
                  <a:pt x="223" y="23"/>
                  <a:pt x="227" y="18"/>
                </a:cubicBezTo>
                <a:cubicBezTo>
                  <a:pt x="227" y="18"/>
                  <a:pt x="227" y="18"/>
                  <a:pt x="227" y="18"/>
                </a:cubicBezTo>
                <a:cubicBezTo>
                  <a:pt x="231" y="14"/>
                  <a:pt x="237" y="11"/>
                  <a:pt x="244" y="11"/>
                </a:cubicBezTo>
                <a:cubicBezTo>
                  <a:pt x="272" y="11"/>
                  <a:pt x="272" y="11"/>
                  <a:pt x="272" y="11"/>
                </a:cubicBezTo>
                <a:cubicBezTo>
                  <a:pt x="273" y="9"/>
                  <a:pt x="275" y="7"/>
                  <a:pt x="276" y="5"/>
                </a:cubicBezTo>
                <a:cubicBezTo>
                  <a:pt x="277" y="5"/>
                  <a:pt x="277" y="5"/>
                  <a:pt x="277" y="5"/>
                </a:cubicBezTo>
                <a:cubicBezTo>
                  <a:pt x="280" y="2"/>
                  <a:pt x="284" y="0"/>
                  <a:pt x="289" y="0"/>
                </a:cubicBezTo>
                <a:cubicBezTo>
                  <a:pt x="294" y="0"/>
                  <a:pt x="298" y="2"/>
                  <a:pt x="301" y="5"/>
                </a:cubicBezTo>
                <a:cubicBezTo>
                  <a:pt x="304" y="8"/>
                  <a:pt x="306" y="13"/>
                  <a:pt x="306" y="17"/>
                </a:cubicBezTo>
                <a:cubicBezTo>
                  <a:pt x="306" y="22"/>
                  <a:pt x="304" y="27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298" y="33"/>
                  <a:pt x="294" y="35"/>
                  <a:pt x="289" y="35"/>
                </a:cubicBezTo>
                <a:cubicBezTo>
                  <a:pt x="284" y="35"/>
                  <a:pt x="280" y="33"/>
                  <a:pt x="276" y="30"/>
                </a:cubicBezTo>
                <a:cubicBezTo>
                  <a:pt x="274" y="27"/>
                  <a:pt x="273" y="25"/>
                  <a:pt x="272" y="21"/>
                </a:cubicBezTo>
                <a:cubicBezTo>
                  <a:pt x="244" y="21"/>
                  <a:pt x="244" y="21"/>
                  <a:pt x="244" y="21"/>
                </a:cubicBezTo>
                <a:cubicBezTo>
                  <a:pt x="240" y="21"/>
                  <a:pt x="237" y="23"/>
                  <a:pt x="234" y="25"/>
                </a:cubicBezTo>
                <a:cubicBezTo>
                  <a:pt x="232" y="28"/>
                  <a:pt x="230" y="31"/>
                  <a:pt x="230" y="35"/>
                </a:cubicBezTo>
                <a:cubicBezTo>
                  <a:pt x="230" y="86"/>
                  <a:pt x="230" y="86"/>
                  <a:pt x="230" y="86"/>
                </a:cubicBezTo>
                <a:cubicBezTo>
                  <a:pt x="233" y="86"/>
                  <a:pt x="233" y="86"/>
                  <a:pt x="233" y="86"/>
                </a:cubicBezTo>
                <a:cubicBezTo>
                  <a:pt x="242" y="86"/>
                  <a:pt x="250" y="90"/>
                  <a:pt x="256" y="96"/>
                </a:cubicBezTo>
                <a:cubicBezTo>
                  <a:pt x="262" y="101"/>
                  <a:pt x="266" y="110"/>
                  <a:pt x="266" y="119"/>
                </a:cubicBezTo>
                <a:cubicBezTo>
                  <a:pt x="303" y="119"/>
                  <a:pt x="303" y="119"/>
                  <a:pt x="303" y="119"/>
                </a:cubicBezTo>
                <a:cubicBezTo>
                  <a:pt x="304" y="116"/>
                  <a:pt x="306" y="113"/>
                  <a:pt x="308" y="111"/>
                </a:cubicBezTo>
                <a:cubicBezTo>
                  <a:pt x="311" y="108"/>
                  <a:pt x="315" y="106"/>
                  <a:pt x="320" y="106"/>
                </a:cubicBezTo>
                <a:cubicBezTo>
                  <a:pt x="325" y="106"/>
                  <a:pt x="330" y="108"/>
                  <a:pt x="333" y="111"/>
                </a:cubicBezTo>
                <a:cubicBezTo>
                  <a:pt x="336" y="114"/>
                  <a:pt x="338" y="119"/>
                  <a:pt x="338" y="124"/>
                </a:cubicBezTo>
                <a:cubicBezTo>
                  <a:pt x="338" y="128"/>
                  <a:pt x="336" y="133"/>
                  <a:pt x="333" y="136"/>
                </a:cubicBezTo>
                <a:cubicBezTo>
                  <a:pt x="333" y="136"/>
                  <a:pt x="333" y="136"/>
                  <a:pt x="333" y="136"/>
                </a:cubicBezTo>
                <a:cubicBezTo>
                  <a:pt x="330" y="139"/>
                  <a:pt x="325" y="141"/>
                  <a:pt x="320" y="141"/>
                </a:cubicBezTo>
                <a:cubicBezTo>
                  <a:pt x="315" y="141"/>
                  <a:pt x="311" y="139"/>
                  <a:pt x="308" y="136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6" y="134"/>
                  <a:pt x="304" y="131"/>
                  <a:pt x="304" y="129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79"/>
                  <a:pt x="266" y="179"/>
                  <a:pt x="266" y="179"/>
                </a:cubicBezTo>
                <a:cubicBezTo>
                  <a:pt x="303" y="179"/>
                  <a:pt x="303" y="179"/>
                  <a:pt x="303" y="179"/>
                </a:cubicBezTo>
                <a:cubicBezTo>
                  <a:pt x="304" y="176"/>
                  <a:pt x="306" y="173"/>
                  <a:pt x="308" y="171"/>
                </a:cubicBezTo>
                <a:cubicBezTo>
                  <a:pt x="311" y="168"/>
                  <a:pt x="315" y="166"/>
                  <a:pt x="320" y="166"/>
                </a:cubicBezTo>
                <a:cubicBezTo>
                  <a:pt x="325" y="166"/>
                  <a:pt x="330" y="168"/>
                  <a:pt x="333" y="171"/>
                </a:cubicBezTo>
                <a:cubicBezTo>
                  <a:pt x="336" y="174"/>
                  <a:pt x="338" y="179"/>
                  <a:pt x="338" y="183"/>
                </a:cubicBezTo>
                <a:cubicBezTo>
                  <a:pt x="338" y="188"/>
                  <a:pt x="336" y="193"/>
                  <a:pt x="333" y="196"/>
                </a:cubicBezTo>
                <a:cubicBezTo>
                  <a:pt x="330" y="199"/>
                  <a:pt x="325" y="201"/>
                  <a:pt x="320" y="201"/>
                </a:cubicBezTo>
                <a:cubicBezTo>
                  <a:pt x="315" y="201"/>
                  <a:pt x="311" y="199"/>
                  <a:pt x="308" y="196"/>
                </a:cubicBezTo>
                <a:cubicBezTo>
                  <a:pt x="306" y="194"/>
                  <a:pt x="304" y="191"/>
                  <a:pt x="303" y="188"/>
                </a:cubicBezTo>
                <a:cubicBezTo>
                  <a:pt x="266" y="188"/>
                  <a:pt x="266" y="188"/>
                  <a:pt x="266" y="188"/>
                </a:cubicBezTo>
                <a:cubicBezTo>
                  <a:pt x="266" y="238"/>
                  <a:pt x="266" y="238"/>
                  <a:pt x="266" y="238"/>
                </a:cubicBezTo>
                <a:cubicBezTo>
                  <a:pt x="304" y="238"/>
                  <a:pt x="304" y="238"/>
                  <a:pt x="304" y="238"/>
                </a:cubicBezTo>
                <a:cubicBezTo>
                  <a:pt x="304" y="235"/>
                  <a:pt x="306" y="233"/>
                  <a:pt x="308" y="231"/>
                </a:cubicBezTo>
                <a:cubicBezTo>
                  <a:pt x="308" y="231"/>
                  <a:pt x="308" y="231"/>
                  <a:pt x="308" y="231"/>
                </a:cubicBezTo>
                <a:cubicBezTo>
                  <a:pt x="311" y="228"/>
                  <a:pt x="315" y="226"/>
                  <a:pt x="320" y="226"/>
                </a:cubicBezTo>
                <a:cubicBezTo>
                  <a:pt x="325" y="226"/>
                  <a:pt x="330" y="228"/>
                  <a:pt x="333" y="231"/>
                </a:cubicBezTo>
                <a:cubicBezTo>
                  <a:pt x="333" y="231"/>
                  <a:pt x="333" y="231"/>
                  <a:pt x="333" y="231"/>
                </a:cubicBezTo>
                <a:cubicBezTo>
                  <a:pt x="336" y="234"/>
                  <a:pt x="338" y="238"/>
                  <a:pt x="338" y="243"/>
                </a:cubicBezTo>
                <a:cubicBezTo>
                  <a:pt x="338" y="248"/>
                  <a:pt x="336" y="253"/>
                  <a:pt x="333" y="256"/>
                </a:cubicBezTo>
                <a:cubicBezTo>
                  <a:pt x="330" y="259"/>
                  <a:pt x="325" y="261"/>
                  <a:pt x="320" y="261"/>
                </a:cubicBezTo>
                <a:cubicBezTo>
                  <a:pt x="315" y="261"/>
                  <a:pt x="311" y="259"/>
                  <a:pt x="308" y="256"/>
                </a:cubicBezTo>
                <a:cubicBezTo>
                  <a:pt x="306" y="254"/>
                  <a:pt x="304" y="251"/>
                  <a:pt x="303" y="248"/>
                </a:cubicBezTo>
                <a:cubicBezTo>
                  <a:pt x="266" y="248"/>
                  <a:pt x="266" y="248"/>
                  <a:pt x="266" y="248"/>
                </a:cubicBezTo>
                <a:cubicBezTo>
                  <a:pt x="265" y="257"/>
                  <a:pt x="262" y="264"/>
                  <a:pt x="256" y="270"/>
                </a:cubicBezTo>
                <a:cubicBezTo>
                  <a:pt x="256" y="270"/>
                  <a:pt x="256" y="270"/>
                  <a:pt x="256" y="270"/>
                </a:cubicBezTo>
                <a:cubicBezTo>
                  <a:pt x="250" y="276"/>
                  <a:pt x="242" y="279"/>
                  <a:pt x="234" y="280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236" y="329"/>
                  <a:pt x="239" y="330"/>
                  <a:pt x="241" y="333"/>
                </a:cubicBezTo>
                <a:cubicBezTo>
                  <a:pt x="241" y="333"/>
                  <a:pt x="241" y="333"/>
                  <a:pt x="241" y="333"/>
                </a:cubicBezTo>
                <a:cubicBezTo>
                  <a:pt x="244" y="336"/>
                  <a:pt x="246" y="340"/>
                  <a:pt x="246" y="345"/>
                </a:cubicBezTo>
                <a:cubicBezTo>
                  <a:pt x="246" y="350"/>
                  <a:pt x="244" y="354"/>
                  <a:pt x="241" y="357"/>
                </a:cubicBezTo>
                <a:cubicBezTo>
                  <a:pt x="241" y="357"/>
                  <a:pt x="241" y="357"/>
                  <a:pt x="241" y="357"/>
                </a:cubicBezTo>
                <a:cubicBezTo>
                  <a:pt x="238" y="360"/>
                  <a:pt x="233" y="362"/>
                  <a:pt x="229" y="362"/>
                </a:cubicBezTo>
                <a:cubicBezTo>
                  <a:pt x="224" y="362"/>
                  <a:pt x="219" y="360"/>
                  <a:pt x="216" y="357"/>
                </a:cubicBezTo>
                <a:cubicBezTo>
                  <a:pt x="213" y="354"/>
                  <a:pt x="211" y="350"/>
                  <a:pt x="211" y="345"/>
                </a:cubicBezTo>
                <a:cubicBezTo>
                  <a:pt x="211" y="340"/>
                  <a:pt x="213" y="336"/>
                  <a:pt x="216" y="333"/>
                </a:cubicBezTo>
                <a:cubicBezTo>
                  <a:pt x="216" y="333"/>
                  <a:pt x="216" y="333"/>
                  <a:pt x="216" y="333"/>
                </a:cubicBezTo>
                <a:cubicBezTo>
                  <a:pt x="218" y="330"/>
                  <a:pt x="221" y="329"/>
                  <a:pt x="224" y="328"/>
                </a:cubicBezTo>
                <a:cubicBezTo>
                  <a:pt x="224" y="280"/>
                  <a:pt x="224" y="280"/>
                  <a:pt x="224" y="280"/>
                </a:cubicBezTo>
                <a:cubicBezTo>
                  <a:pt x="174" y="280"/>
                  <a:pt x="174" y="280"/>
                  <a:pt x="174" y="280"/>
                </a:cubicBezTo>
                <a:cubicBezTo>
                  <a:pt x="174" y="328"/>
                  <a:pt x="174" y="328"/>
                  <a:pt x="174" y="328"/>
                </a:cubicBezTo>
                <a:cubicBezTo>
                  <a:pt x="177" y="329"/>
                  <a:pt x="179" y="330"/>
                  <a:pt x="181" y="333"/>
                </a:cubicBezTo>
                <a:cubicBezTo>
                  <a:pt x="181" y="333"/>
                  <a:pt x="181" y="333"/>
                  <a:pt x="181" y="333"/>
                </a:cubicBezTo>
                <a:cubicBezTo>
                  <a:pt x="184" y="336"/>
                  <a:pt x="186" y="340"/>
                  <a:pt x="186" y="345"/>
                </a:cubicBezTo>
                <a:cubicBezTo>
                  <a:pt x="186" y="350"/>
                  <a:pt x="184" y="354"/>
                  <a:pt x="181" y="357"/>
                </a:cubicBezTo>
                <a:cubicBezTo>
                  <a:pt x="178" y="360"/>
                  <a:pt x="174" y="362"/>
                  <a:pt x="169" y="362"/>
                </a:cubicBezTo>
                <a:cubicBezTo>
                  <a:pt x="164" y="362"/>
                  <a:pt x="160" y="360"/>
                  <a:pt x="156" y="357"/>
                </a:cubicBezTo>
                <a:cubicBezTo>
                  <a:pt x="153" y="354"/>
                  <a:pt x="151" y="350"/>
                  <a:pt x="151" y="345"/>
                </a:cubicBezTo>
                <a:cubicBezTo>
                  <a:pt x="151" y="340"/>
                  <a:pt x="153" y="336"/>
                  <a:pt x="156" y="333"/>
                </a:cubicBezTo>
                <a:cubicBezTo>
                  <a:pt x="156" y="333"/>
                  <a:pt x="156" y="333"/>
                  <a:pt x="156" y="333"/>
                </a:cubicBezTo>
                <a:cubicBezTo>
                  <a:pt x="158" y="330"/>
                  <a:pt x="161" y="329"/>
                  <a:pt x="164" y="328"/>
                </a:cubicBezTo>
                <a:cubicBezTo>
                  <a:pt x="164" y="280"/>
                  <a:pt x="164" y="280"/>
                  <a:pt x="164" y="280"/>
                </a:cubicBezTo>
                <a:cubicBezTo>
                  <a:pt x="114" y="280"/>
                  <a:pt x="114" y="280"/>
                  <a:pt x="114" y="280"/>
                </a:cubicBezTo>
                <a:cubicBezTo>
                  <a:pt x="114" y="328"/>
                  <a:pt x="114" y="328"/>
                  <a:pt x="114" y="328"/>
                </a:cubicBezTo>
                <a:cubicBezTo>
                  <a:pt x="117" y="329"/>
                  <a:pt x="119" y="330"/>
                  <a:pt x="121" y="333"/>
                </a:cubicBezTo>
                <a:cubicBezTo>
                  <a:pt x="121" y="333"/>
                  <a:pt x="121" y="333"/>
                  <a:pt x="121" y="333"/>
                </a:cubicBezTo>
                <a:cubicBezTo>
                  <a:pt x="125" y="336"/>
                  <a:pt x="127" y="340"/>
                  <a:pt x="127" y="345"/>
                </a:cubicBezTo>
                <a:cubicBezTo>
                  <a:pt x="127" y="350"/>
                  <a:pt x="125" y="354"/>
                  <a:pt x="121" y="357"/>
                </a:cubicBezTo>
                <a:cubicBezTo>
                  <a:pt x="118" y="360"/>
                  <a:pt x="114" y="362"/>
                  <a:pt x="109" y="362"/>
                </a:cubicBezTo>
                <a:cubicBezTo>
                  <a:pt x="104" y="362"/>
                  <a:pt x="100" y="360"/>
                  <a:pt x="97" y="357"/>
                </a:cubicBezTo>
                <a:cubicBezTo>
                  <a:pt x="97" y="357"/>
                  <a:pt x="97" y="357"/>
                  <a:pt x="97" y="357"/>
                </a:cubicBezTo>
                <a:cubicBezTo>
                  <a:pt x="93" y="354"/>
                  <a:pt x="91" y="350"/>
                  <a:pt x="91" y="345"/>
                </a:cubicBezTo>
                <a:cubicBezTo>
                  <a:pt x="91" y="340"/>
                  <a:pt x="93" y="336"/>
                  <a:pt x="97" y="333"/>
                </a:cubicBezTo>
                <a:cubicBezTo>
                  <a:pt x="97" y="333"/>
                  <a:pt x="97" y="333"/>
                  <a:pt x="97" y="333"/>
                </a:cubicBezTo>
                <a:cubicBezTo>
                  <a:pt x="99" y="330"/>
                  <a:pt x="101" y="329"/>
                  <a:pt x="104" y="328"/>
                </a:cubicBezTo>
                <a:cubicBezTo>
                  <a:pt x="104" y="280"/>
                  <a:pt x="104" y="280"/>
                  <a:pt x="104" y="280"/>
                </a:cubicBezTo>
                <a:cubicBezTo>
                  <a:pt x="95" y="279"/>
                  <a:pt x="87" y="276"/>
                  <a:pt x="82" y="27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76" y="264"/>
                  <a:pt x="72" y="257"/>
                  <a:pt x="72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33" y="251"/>
                  <a:pt x="32" y="254"/>
                  <a:pt x="30" y="256"/>
                </a:cubicBezTo>
                <a:cubicBezTo>
                  <a:pt x="30" y="256"/>
                  <a:pt x="30" y="256"/>
                  <a:pt x="30" y="256"/>
                </a:cubicBezTo>
                <a:cubicBezTo>
                  <a:pt x="27" y="259"/>
                  <a:pt x="22" y="261"/>
                  <a:pt x="17" y="261"/>
                </a:cubicBezTo>
                <a:cubicBezTo>
                  <a:pt x="13" y="261"/>
                  <a:pt x="8" y="259"/>
                  <a:pt x="5" y="256"/>
                </a:cubicBezTo>
                <a:cubicBezTo>
                  <a:pt x="2" y="253"/>
                  <a:pt x="0" y="248"/>
                  <a:pt x="0" y="243"/>
                </a:cubicBezTo>
                <a:cubicBezTo>
                  <a:pt x="0" y="238"/>
                  <a:pt x="2" y="234"/>
                  <a:pt x="5" y="231"/>
                </a:cubicBezTo>
                <a:cubicBezTo>
                  <a:pt x="5" y="231"/>
                  <a:pt x="5" y="231"/>
                  <a:pt x="5" y="231"/>
                </a:cubicBezTo>
                <a:cubicBezTo>
                  <a:pt x="8" y="228"/>
                  <a:pt x="13" y="226"/>
                  <a:pt x="17" y="226"/>
                </a:cubicBezTo>
                <a:cubicBezTo>
                  <a:pt x="22" y="226"/>
                  <a:pt x="27" y="228"/>
                  <a:pt x="30" y="231"/>
                </a:cubicBezTo>
                <a:cubicBezTo>
                  <a:pt x="30" y="231"/>
                  <a:pt x="30" y="231"/>
                  <a:pt x="30" y="231"/>
                </a:cubicBezTo>
                <a:cubicBezTo>
                  <a:pt x="32" y="233"/>
                  <a:pt x="33" y="235"/>
                  <a:pt x="34" y="238"/>
                </a:cubicBezTo>
                <a:cubicBezTo>
                  <a:pt x="72" y="238"/>
                  <a:pt x="72" y="238"/>
                  <a:pt x="72" y="238"/>
                </a:cubicBezTo>
                <a:cubicBezTo>
                  <a:pt x="72" y="188"/>
                  <a:pt x="72" y="188"/>
                  <a:pt x="72" y="188"/>
                </a:cubicBezTo>
                <a:cubicBezTo>
                  <a:pt x="34" y="188"/>
                  <a:pt x="34" y="188"/>
                  <a:pt x="34" y="188"/>
                </a:cubicBezTo>
                <a:cubicBezTo>
                  <a:pt x="33" y="191"/>
                  <a:pt x="32" y="194"/>
                  <a:pt x="30" y="196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27" y="199"/>
                  <a:pt x="22" y="201"/>
                  <a:pt x="17" y="201"/>
                </a:cubicBezTo>
                <a:cubicBezTo>
                  <a:pt x="13" y="201"/>
                  <a:pt x="8" y="199"/>
                  <a:pt x="5" y="196"/>
                </a:cubicBezTo>
                <a:cubicBezTo>
                  <a:pt x="2" y="193"/>
                  <a:pt x="0" y="188"/>
                  <a:pt x="0" y="183"/>
                </a:cubicBezTo>
                <a:cubicBezTo>
                  <a:pt x="0" y="179"/>
                  <a:pt x="2" y="174"/>
                  <a:pt x="5" y="171"/>
                </a:cubicBezTo>
                <a:cubicBezTo>
                  <a:pt x="8" y="168"/>
                  <a:pt x="13" y="166"/>
                  <a:pt x="17" y="166"/>
                </a:cubicBezTo>
                <a:cubicBezTo>
                  <a:pt x="22" y="166"/>
                  <a:pt x="27" y="168"/>
                  <a:pt x="30" y="171"/>
                </a:cubicBezTo>
                <a:cubicBezTo>
                  <a:pt x="30" y="171"/>
                  <a:pt x="30" y="171"/>
                  <a:pt x="30" y="171"/>
                </a:cubicBezTo>
                <a:cubicBezTo>
                  <a:pt x="32" y="173"/>
                  <a:pt x="33" y="176"/>
                  <a:pt x="34" y="179"/>
                </a:cubicBezTo>
                <a:cubicBezTo>
                  <a:pt x="72" y="179"/>
                  <a:pt x="72" y="179"/>
                  <a:pt x="72" y="17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34" y="129"/>
                  <a:pt x="34" y="129"/>
                  <a:pt x="34" y="129"/>
                </a:cubicBezTo>
                <a:cubicBezTo>
                  <a:pt x="33" y="131"/>
                  <a:pt x="32" y="134"/>
                  <a:pt x="30" y="136"/>
                </a:cubicBezTo>
                <a:cubicBezTo>
                  <a:pt x="27" y="139"/>
                  <a:pt x="22" y="141"/>
                  <a:pt x="17" y="141"/>
                </a:cubicBezTo>
                <a:cubicBezTo>
                  <a:pt x="13" y="141"/>
                  <a:pt x="8" y="139"/>
                  <a:pt x="5" y="136"/>
                </a:cubicBezTo>
                <a:cubicBezTo>
                  <a:pt x="5" y="136"/>
                  <a:pt x="5" y="136"/>
                  <a:pt x="5" y="136"/>
                </a:cubicBezTo>
                <a:cubicBezTo>
                  <a:pt x="2" y="133"/>
                  <a:pt x="0" y="128"/>
                  <a:pt x="0" y="124"/>
                </a:cubicBezTo>
                <a:cubicBezTo>
                  <a:pt x="0" y="119"/>
                  <a:pt x="2" y="114"/>
                  <a:pt x="5" y="111"/>
                </a:cubicBezTo>
                <a:cubicBezTo>
                  <a:pt x="8" y="108"/>
                  <a:pt x="13" y="106"/>
                  <a:pt x="17" y="106"/>
                </a:cubicBezTo>
                <a:cubicBezTo>
                  <a:pt x="22" y="106"/>
                  <a:pt x="27" y="108"/>
                  <a:pt x="30" y="111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2" y="113"/>
                  <a:pt x="33" y="116"/>
                  <a:pt x="34" y="119"/>
                </a:cubicBezTo>
                <a:cubicBezTo>
                  <a:pt x="72" y="119"/>
                  <a:pt x="72" y="119"/>
                  <a:pt x="72" y="119"/>
                </a:cubicBezTo>
                <a:cubicBezTo>
                  <a:pt x="72" y="110"/>
                  <a:pt x="76" y="101"/>
                  <a:pt x="82" y="96"/>
                </a:cubicBezTo>
                <a:cubicBezTo>
                  <a:pt x="88" y="90"/>
                  <a:pt x="96" y="86"/>
                  <a:pt x="105" y="86"/>
                </a:cubicBezTo>
                <a:close/>
                <a:moveTo>
                  <a:pt x="12" y="118"/>
                </a:moveTo>
                <a:cubicBezTo>
                  <a:pt x="11" y="120"/>
                  <a:pt x="10" y="122"/>
                  <a:pt x="10" y="124"/>
                </a:cubicBezTo>
                <a:cubicBezTo>
                  <a:pt x="10" y="126"/>
                  <a:pt x="11" y="128"/>
                  <a:pt x="12" y="129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3" y="130"/>
                  <a:pt x="15" y="131"/>
                  <a:pt x="17" y="131"/>
                </a:cubicBezTo>
                <a:cubicBezTo>
                  <a:pt x="19" y="131"/>
                  <a:pt x="21" y="130"/>
                  <a:pt x="23" y="129"/>
                </a:cubicBezTo>
                <a:cubicBezTo>
                  <a:pt x="24" y="128"/>
                  <a:pt x="25" y="126"/>
                  <a:pt x="25" y="124"/>
                </a:cubicBezTo>
                <a:cubicBezTo>
                  <a:pt x="25" y="122"/>
                  <a:pt x="24" y="120"/>
                  <a:pt x="23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1" y="117"/>
                  <a:pt x="19" y="116"/>
                  <a:pt x="17" y="116"/>
                </a:cubicBezTo>
                <a:cubicBezTo>
                  <a:pt x="15" y="116"/>
                  <a:pt x="13" y="117"/>
                  <a:pt x="12" y="118"/>
                </a:cubicBezTo>
                <a:close/>
                <a:moveTo>
                  <a:pt x="12" y="238"/>
                </a:moveTo>
                <a:cubicBezTo>
                  <a:pt x="11" y="239"/>
                  <a:pt x="10" y="241"/>
                  <a:pt x="10" y="243"/>
                </a:cubicBezTo>
                <a:cubicBezTo>
                  <a:pt x="10" y="245"/>
                  <a:pt x="11" y="247"/>
                  <a:pt x="12" y="249"/>
                </a:cubicBezTo>
                <a:cubicBezTo>
                  <a:pt x="13" y="250"/>
                  <a:pt x="15" y="251"/>
                  <a:pt x="17" y="251"/>
                </a:cubicBezTo>
                <a:cubicBezTo>
                  <a:pt x="19" y="251"/>
                  <a:pt x="21" y="250"/>
                  <a:pt x="23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4" y="247"/>
                  <a:pt x="25" y="245"/>
                  <a:pt x="25" y="243"/>
                </a:cubicBezTo>
                <a:cubicBezTo>
                  <a:pt x="25" y="241"/>
                  <a:pt x="24" y="239"/>
                  <a:pt x="23" y="238"/>
                </a:cubicBezTo>
                <a:cubicBezTo>
                  <a:pt x="23" y="238"/>
                  <a:pt x="23" y="238"/>
                  <a:pt x="23" y="238"/>
                </a:cubicBezTo>
                <a:cubicBezTo>
                  <a:pt x="21" y="237"/>
                  <a:pt x="19" y="236"/>
                  <a:pt x="17" y="236"/>
                </a:cubicBezTo>
                <a:cubicBezTo>
                  <a:pt x="15" y="236"/>
                  <a:pt x="13" y="237"/>
                  <a:pt x="12" y="238"/>
                </a:cubicBezTo>
                <a:cubicBezTo>
                  <a:pt x="12" y="238"/>
                  <a:pt x="12" y="238"/>
                  <a:pt x="12" y="238"/>
                </a:cubicBezTo>
                <a:close/>
                <a:moveTo>
                  <a:pt x="12" y="178"/>
                </a:moveTo>
                <a:cubicBezTo>
                  <a:pt x="11" y="179"/>
                  <a:pt x="10" y="181"/>
                  <a:pt x="10" y="183"/>
                </a:cubicBezTo>
                <a:cubicBezTo>
                  <a:pt x="10" y="186"/>
                  <a:pt x="11" y="187"/>
                  <a:pt x="12" y="189"/>
                </a:cubicBezTo>
                <a:cubicBezTo>
                  <a:pt x="13" y="190"/>
                  <a:pt x="15" y="191"/>
                  <a:pt x="17" y="191"/>
                </a:cubicBezTo>
                <a:cubicBezTo>
                  <a:pt x="19" y="191"/>
                  <a:pt x="21" y="190"/>
                  <a:pt x="23" y="189"/>
                </a:cubicBezTo>
                <a:cubicBezTo>
                  <a:pt x="23" y="189"/>
                  <a:pt x="23" y="189"/>
                  <a:pt x="23" y="189"/>
                </a:cubicBezTo>
                <a:cubicBezTo>
                  <a:pt x="24" y="187"/>
                  <a:pt x="25" y="186"/>
                  <a:pt x="25" y="183"/>
                </a:cubicBezTo>
                <a:cubicBezTo>
                  <a:pt x="25" y="181"/>
                  <a:pt x="24" y="179"/>
                  <a:pt x="23" y="178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1" y="177"/>
                  <a:pt x="19" y="176"/>
                  <a:pt x="17" y="176"/>
                </a:cubicBezTo>
                <a:cubicBezTo>
                  <a:pt x="15" y="176"/>
                  <a:pt x="13" y="177"/>
                  <a:pt x="12" y="178"/>
                </a:cubicBezTo>
                <a:close/>
                <a:moveTo>
                  <a:pt x="229" y="352"/>
                </a:moveTo>
                <a:cubicBezTo>
                  <a:pt x="231" y="352"/>
                  <a:pt x="233" y="352"/>
                  <a:pt x="234" y="350"/>
                </a:cubicBezTo>
                <a:cubicBezTo>
                  <a:pt x="234" y="350"/>
                  <a:pt x="234" y="350"/>
                  <a:pt x="234" y="350"/>
                </a:cubicBezTo>
                <a:cubicBezTo>
                  <a:pt x="235" y="349"/>
                  <a:pt x="236" y="347"/>
                  <a:pt x="236" y="345"/>
                </a:cubicBezTo>
                <a:cubicBezTo>
                  <a:pt x="236" y="343"/>
                  <a:pt x="235" y="341"/>
                  <a:pt x="234" y="340"/>
                </a:cubicBezTo>
                <a:cubicBezTo>
                  <a:pt x="234" y="340"/>
                  <a:pt x="234" y="340"/>
                  <a:pt x="234" y="340"/>
                </a:cubicBezTo>
                <a:cubicBezTo>
                  <a:pt x="233" y="338"/>
                  <a:pt x="231" y="337"/>
                  <a:pt x="229" y="337"/>
                </a:cubicBezTo>
                <a:cubicBezTo>
                  <a:pt x="227" y="337"/>
                  <a:pt x="225" y="338"/>
                  <a:pt x="223" y="340"/>
                </a:cubicBezTo>
                <a:cubicBezTo>
                  <a:pt x="223" y="340"/>
                  <a:pt x="223" y="340"/>
                  <a:pt x="223" y="340"/>
                </a:cubicBezTo>
                <a:cubicBezTo>
                  <a:pt x="222" y="341"/>
                  <a:pt x="221" y="343"/>
                  <a:pt x="221" y="345"/>
                </a:cubicBezTo>
                <a:cubicBezTo>
                  <a:pt x="221" y="347"/>
                  <a:pt x="222" y="349"/>
                  <a:pt x="223" y="350"/>
                </a:cubicBezTo>
                <a:cubicBezTo>
                  <a:pt x="225" y="352"/>
                  <a:pt x="227" y="352"/>
                  <a:pt x="229" y="352"/>
                </a:cubicBezTo>
                <a:close/>
                <a:moveTo>
                  <a:pt x="109" y="352"/>
                </a:moveTo>
                <a:cubicBezTo>
                  <a:pt x="111" y="352"/>
                  <a:pt x="113" y="352"/>
                  <a:pt x="114" y="350"/>
                </a:cubicBezTo>
                <a:cubicBezTo>
                  <a:pt x="116" y="349"/>
                  <a:pt x="117" y="347"/>
                  <a:pt x="117" y="345"/>
                </a:cubicBezTo>
                <a:cubicBezTo>
                  <a:pt x="117" y="343"/>
                  <a:pt x="116" y="341"/>
                  <a:pt x="114" y="340"/>
                </a:cubicBezTo>
                <a:cubicBezTo>
                  <a:pt x="114" y="340"/>
                  <a:pt x="114" y="340"/>
                  <a:pt x="114" y="340"/>
                </a:cubicBezTo>
                <a:cubicBezTo>
                  <a:pt x="113" y="338"/>
                  <a:pt x="111" y="337"/>
                  <a:pt x="109" y="337"/>
                </a:cubicBezTo>
                <a:cubicBezTo>
                  <a:pt x="107" y="337"/>
                  <a:pt x="105" y="338"/>
                  <a:pt x="104" y="340"/>
                </a:cubicBezTo>
                <a:cubicBezTo>
                  <a:pt x="104" y="340"/>
                  <a:pt x="104" y="340"/>
                  <a:pt x="104" y="340"/>
                </a:cubicBezTo>
                <a:cubicBezTo>
                  <a:pt x="102" y="341"/>
                  <a:pt x="101" y="343"/>
                  <a:pt x="101" y="345"/>
                </a:cubicBezTo>
                <a:cubicBezTo>
                  <a:pt x="101" y="347"/>
                  <a:pt x="102" y="349"/>
                  <a:pt x="104" y="350"/>
                </a:cubicBezTo>
                <a:cubicBezTo>
                  <a:pt x="104" y="350"/>
                  <a:pt x="104" y="350"/>
                  <a:pt x="104" y="350"/>
                </a:cubicBezTo>
                <a:cubicBezTo>
                  <a:pt x="105" y="352"/>
                  <a:pt x="107" y="352"/>
                  <a:pt x="109" y="352"/>
                </a:cubicBezTo>
                <a:close/>
                <a:moveTo>
                  <a:pt x="169" y="352"/>
                </a:moveTo>
                <a:cubicBezTo>
                  <a:pt x="171" y="352"/>
                  <a:pt x="173" y="352"/>
                  <a:pt x="174" y="350"/>
                </a:cubicBezTo>
                <a:cubicBezTo>
                  <a:pt x="176" y="349"/>
                  <a:pt x="176" y="347"/>
                  <a:pt x="176" y="345"/>
                </a:cubicBezTo>
                <a:cubicBezTo>
                  <a:pt x="176" y="343"/>
                  <a:pt x="176" y="341"/>
                  <a:pt x="174" y="340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173" y="338"/>
                  <a:pt x="171" y="337"/>
                  <a:pt x="169" y="337"/>
                </a:cubicBezTo>
                <a:cubicBezTo>
                  <a:pt x="167" y="337"/>
                  <a:pt x="165" y="338"/>
                  <a:pt x="163" y="340"/>
                </a:cubicBezTo>
                <a:cubicBezTo>
                  <a:pt x="163" y="340"/>
                  <a:pt x="163" y="340"/>
                  <a:pt x="163" y="340"/>
                </a:cubicBezTo>
                <a:cubicBezTo>
                  <a:pt x="162" y="341"/>
                  <a:pt x="161" y="343"/>
                  <a:pt x="161" y="345"/>
                </a:cubicBezTo>
                <a:cubicBezTo>
                  <a:pt x="161" y="347"/>
                  <a:pt x="162" y="349"/>
                  <a:pt x="163" y="350"/>
                </a:cubicBezTo>
                <a:cubicBezTo>
                  <a:pt x="165" y="352"/>
                  <a:pt x="167" y="352"/>
                  <a:pt x="169" y="352"/>
                </a:cubicBezTo>
                <a:close/>
                <a:moveTo>
                  <a:pt x="328" y="124"/>
                </a:moveTo>
                <a:cubicBezTo>
                  <a:pt x="328" y="122"/>
                  <a:pt x="327" y="120"/>
                  <a:pt x="326" y="118"/>
                </a:cubicBezTo>
                <a:cubicBezTo>
                  <a:pt x="324" y="117"/>
                  <a:pt x="322" y="116"/>
                  <a:pt x="320" y="116"/>
                </a:cubicBezTo>
                <a:cubicBezTo>
                  <a:pt x="318" y="116"/>
                  <a:pt x="316" y="117"/>
                  <a:pt x="315" y="118"/>
                </a:cubicBezTo>
                <a:cubicBezTo>
                  <a:pt x="314" y="120"/>
                  <a:pt x="313" y="122"/>
                  <a:pt x="313" y="124"/>
                </a:cubicBezTo>
                <a:cubicBezTo>
                  <a:pt x="313" y="126"/>
                  <a:pt x="314" y="128"/>
                  <a:pt x="315" y="129"/>
                </a:cubicBezTo>
                <a:cubicBezTo>
                  <a:pt x="315" y="129"/>
                  <a:pt x="315" y="129"/>
                  <a:pt x="315" y="129"/>
                </a:cubicBezTo>
                <a:cubicBezTo>
                  <a:pt x="316" y="130"/>
                  <a:pt x="318" y="131"/>
                  <a:pt x="320" y="131"/>
                </a:cubicBezTo>
                <a:cubicBezTo>
                  <a:pt x="322" y="131"/>
                  <a:pt x="324" y="130"/>
                  <a:pt x="326" y="129"/>
                </a:cubicBezTo>
                <a:cubicBezTo>
                  <a:pt x="326" y="129"/>
                  <a:pt x="326" y="129"/>
                  <a:pt x="326" y="129"/>
                </a:cubicBezTo>
                <a:cubicBezTo>
                  <a:pt x="327" y="128"/>
                  <a:pt x="328" y="126"/>
                  <a:pt x="328" y="124"/>
                </a:cubicBezTo>
                <a:close/>
                <a:moveTo>
                  <a:pt x="328" y="243"/>
                </a:moveTo>
                <a:cubicBezTo>
                  <a:pt x="328" y="241"/>
                  <a:pt x="327" y="239"/>
                  <a:pt x="326" y="238"/>
                </a:cubicBezTo>
                <a:cubicBezTo>
                  <a:pt x="326" y="238"/>
                  <a:pt x="326" y="238"/>
                  <a:pt x="326" y="238"/>
                </a:cubicBezTo>
                <a:cubicBezTo>
                  <a:pt x="324" y="237"/>
                  <a:pt x="322" y="236"/>
                  <a:pt x="320" y="236"/>
                </a:cubicBezTo>
                <a:cubicBezTo>
                  <a:pt x="318" y="236"/>
                  <a:pt x="316" y="237"/>
                  <a:pt x="315" y="238"/>
                </a:cubicBezTo>
                <a:cubicBezTo>
                  <a:pt x="315" y="238"/>
                  <a:pt x="315" y="238"/>
                  <a:pt x="315" y="238"/>
                </a:cubicBezTo>
                <a:cubicBezTo>
                  <a:pt x="314" y="239"/>
                  <a:pt x="313" y="241"/>
                  <a:pt x="313" y="243"/>
                </a:cubicBezTo>
                <a:cubicBezTo>
                  <a:pt x="313" y="245"/>
                  <a:pt x="314" y="247"/>
                  <a:pt x="315" y="249"/>
                </a:cubicBezTo>
                <a:cubicBezTo>
                  <a:pt x="316" y="250"/>
                  <a:pt x="318" y="251"/>
                  <a:pt x="320" y="251"/>
                </a:cubicBezTo>
                <a:cubicBezTo>
                  <a:pt x="322" y="251"/>
                  <a:pt x="324" y="250"/>
                  <a:pt x="326" y="249"/>
                </a:cubicBezTo>
                <a:cubicBezTo>
                  <a:pt x="327" y="247"/>
                  <a:pt x="328" y="245"/>
                  <a:pt x="328" y="243"/>
                </a:cubicBezTo>
                <a:close/>
                <a:moveTo>
                  <a:pt x="328" y="183"/>
                </a:moveTo>
                <a:cubicBezTo>
                  <a:pt x="328" y="181"/>
                  <a:pt x="327" y="179"/>
                  <a:pt x="326" y="178"/>
                </a:cubicBezTo>
                <a:cubicBezTo>
                  <a:pt x="324" y="177"/>
                  <a:pt x="322" y="176"/>
                  <a:pt x="320" y="176"/>
                </a:cubicBezTo>
                <a:cubicBezTo>
                  <a:pt x="318" y="176"/>
                  <a:pt x="316" y="177"/>
                  <a:pt x="315" y="178"/>
                </a:cubicBezTo>
                <a:cubicBezTo>
                  <a:pt x="314" y="179"/>
                  <a:pt x="313" y="181"/>
                  <a:pt x="313" y="183"/>
                </a:cubicBezTo>
                <a:cubicBezTo>
                  <a:pt x="313" y="186"/>
                  <a:pt x="314" y="187"/>
                  <a:pt x="315" y="189"/>
                </a:cubicBezTo>
                <a:cubicBezTo>
                  <a:pt x="316" y="190"/>
                  <a:pt x="318" y="191"/>
                  <a:pt x="320" y="191"/>
                </a:cubicBezTo>
                <a:cubicBezTo>
                  <a:pt x="322" y="191"/>
                  <a:pt x="324" y="190"/>
                  <a:pt x="326" y="189"/>
                </a:cubicBezTo>
                <a:cubicBezTo>
                  <a:pt x="327" y="187"/>
                  <a:pt x="328" y="186"/>
                  <a:pt x="328" y="183"/>
                </a:cubicBezTo>
                <a:close/>
                <a:moveTo>
                  <a:pt x="174" y="12"/>
                </a:moveTo>
                <a:cubicBezTo>
                  <a:pt x="173" y="11"/>
                  <a:pt x="171" y="10"/>
                  <a:pt x="169" y="10"/>
                </a:cubicBezTo>
                <a:cubicBezTo>
                  <a:pt x="167" y="10"/>
                  <a:pt x="165" y="11"/>
                  <a:pt x="163" y="12"/>
                </a:cubicBezTo>
                <a:cubicBezTo>
                  <a:pt x="162" y="13"/>
                  <a:pt x="161" y="15"/>
                  <a:pt x="161" y="17"/>
                </a:cubicBezTo>
                <a:cubicBezTo>
                  <a:pt x="161" y="20"/>
                  <a:pt x="162" y="21"/>
                  <a:pt x="163" y="23"/>
                </a:cubicBezTo>
                <a:cubicBezTo>
                  <a:pt x="163" y="23"/>
                  <a:pt x="163" y="23"/>
                  <a:pt x="163" y="23"/>
                </a:cubicBezTo>
                <a:cubicBezTo>
                  <a:pt x="165" y="24"/>
                  <a:pt x="167" y="25"/>
                  <a:pt x="169" y="25"/>
                </a:cubicBezTo>
                <a:cubicBezTo>
                  <a:pt x="171" y="25"/>
                  <a:pt x="173" y="24"/>
                  <a:pt x="174" y="23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6" y="21"/>
                  <a:pt x="176" y="20"/>
                  <a:pt x="176" y="17"/>
                </a:cubicBezTo>
                <a:cubicBezTo>
                  <a:pt x="176" y="15"/>
                  <a:pt x="176" y="13"/>
                  <a:pt x="174" y="12"/>
                </a:cubicBezTo>
                <a:close/>
                <a:moveTo>
                  <a:pt x="289" y="10"/>
                </a:moveTo>
                <a:cubicBezTo>
                  <a:pt x="287" y="10"/>
                  <a:pt x="285" y="11"/>
                  <a:pt x="284" y="12"/>
                </a:cubicBezTo>
                <a:cubicBezTo>
                  <a:pt x="284" y="12"/>
                  <a:pt x="284" y="12"/>
                  <a:pt x="284" y="12"/>
                </a:cubicBezTo>
                <a:cubicBezTo>
                  <a:pt x="282" y="13"/>
                  <a:pt x="281" y="15"/>
                  <a:pt x="281" y="17"/>
                </a:cubicBezTo>
                <a:cubicBezTo>
                  <a:pt x="281" y="19"/>
                  <a:pt x="282" y="21"/>
                  <a:pt x="284" y="23"/>
                </a:cubicBezTo>
                <a:cubicBezTo>
                  <a:pt x="285" y="24"/>
                  <a:pt x="287" y="25"/>
                  <a:pt x="289" y="25"/>
                </a:cubicBezTo>
                <a:cubicBezTo>
                  <a:pt x="291" y="25"/>
                  <a:pt x="293" y="24"/>
                  <a:pt x="294" y="23"/>
                </a:cubicBezTo>
                <a:cubicBezTo>
                  <a:pt x="294" y="23"/>
                  <a:pt x="294" y="23"/>
                  <a:pt x="294" y="23"/>
                </a:cubicBezTo>
                <a:cubicBezTo>
                  <a:pt x="296" y="21"/>
                  <a:pt x="296" y="20"/>
                  <a:pt x="296" y="17"/>
                </a:cubicBezTo>
                <a:cubicBezTo>
                  <a:pt x="296" y="15"/>
                  <a:pt x="296" y="13"/>
                  <a:pt x="294" y="12"/>
                </a:cubicBezTo>
                <a:cubicBezTo>
                  <a:pt x="293" y="11"/>
                  <a:pt x="291" y="10"/>
                  <a:pt x="289" y="10"/>
                </a:cubicBezTo>
                <a:close/>
                <a:moveTo>
                  <a:pt x="226" y="197"/>
                </a:moveTo>
                <a:cubicBezTo>
                  <a:pt x="226" y="196"/>
                  <a:pt x="226" y="196"/>
                  <a:pt x="226" y="196"/>
                </a:cubicBezTo>
                <a:cubicBezTo>
                  <a:pt x="226" y="195"/>
                  <a:pt x="226" y="195"/>
                  <a:pt x="226" y="194"/>
                </a:cubicBezTo>
                <a:cubicBezTo>
                  <a:pt x="226" y="171"/>
                  <a:pt x="226" y="171"/>
                  <a:pt x="226" y="171"/>
                </a:cubicBezTo>
                <a:cubicBezTo>
                  <a:pt x="226" y="171"/>
                  <a:pt x="226" y="170"/>
                  <a:pt x="226" y="170"/>
                </a:cubicBezTo>
                <a:cubicBezTo>
                  <a:pt x="226" y="170"/>
                  <a:pt x="226" y="169"/>
                  <a:pt x="226" y="169"/>
                </a:cubicBezTo>
                <a:cubicBezTo>
                  <a:pt x="226" y="134"/>
                  <a:pt x="226" y="134"/>
                  <a:pt x="226" y="134"/>
                </a:cubicBezTo>
                <a:cubicBezTo>
                  <a:pt x="226" y="132"/>
                  <a:pt x="225" y="130"/>
                  <a:pt x="223" y="128"/>
                </a:cubicBezTo>
                <a:cubicBezTo>
                  <a:pt x="222" y="127"/>
                  <a:pt x="220" y="126"/>
                  <a:pt x="217" y="126"/>
                </a:cubicBezTo>
                <a:cubicBezTo>
                  <a:pt x="120" y="126"/>
                  <a:pt x="120" y="126"/>
                  <a:pt x="120" y="126"/>
                </a:cubicBezTo>
                <a:cubicBezTo>
                  <a:pt x="118" y="126"/>
                  <a:pt x="116" y="127"/>
                  <a:pt x="114" y="128"/>
                </a:cubicBezTo>
                <a:cubicBezTo>
                  <a:pt x="113" y="130"/>
                  <a:pt x="112" y="132"/>
                  <a:pt x="112" y="134"/>
                </a:cubicBezTo>
                <a:cubicBezTo>
                  <a:pt x="112" y="231"/>
                  <a:pt x="112" y="231"/>
                  <a:pt x="112" y="231"/>
                </a:cubicBezTo>
                <a:cubicBezTo>
                  <a:pt x="112" y="234"/>
                  <a:pt x="113" y="236"/>
                  <a:pt x="114" y="237"/>
                </a:cubicBezTo>
                <a:cubicBezTo>
                  <a:pt x="114" y="237"/>
                  <a:pt x="114" y="237"/>
                  <a:pt x="114" y="237"/>
                </a:cubicBezTo>
                <a:cubicBezTo>
                  <a:pt x="116" y="239"/>
                  <a:pt x="118" y="240"/>
                  <a:pt x="120" y="240"/>
                </a:cubicBezTo>
                <a:cubicBezTo>
                  <a:pt x="217" y="240"/>
                  <a:pt x="217" y="240"/>
                  <a:pt x="217" y="240"/>
                </a:cubicBezTo>
                <a:cubicBezTo>
                  <a:pt x="220" y="240"/>
                  <a:pt x="222" y="239"/>
                  <a:pt x="223" y="237"/>
                </a:cubicBezTo>
                <a:cubicBezTo>
                  <a:pt x="225" y="236"/>
                  <a:pt x="226" y="234"/>
                  <a:pt x="226" y="231"/>
                </a:cubicBezTo>
                <a:cubicBezTo>
                  <a:pt x="226" y="197"/>
                  <a:pt x="226" y="197"/>
                  <a:pt x="226" y="197"/>
                </a:cubicBezTo>
                <a:close/>
                <a:moveTo>
                  <a:pt x="236" y="191"/>
                </a:moveTo>
                <a:cubicBezTo>
                  <a:pt x="254" y="191"/>
                  <a:pt x="254" y="191"/>
                  <a:pt x="254" y="191"/>
                </a:cubicBezTo>
                <a:cubicBezTo>
                  <a:pt x="255" y="191"/>
                  <a:pt x="255" y="191"/>
                  <a:pt x="256" y="191"/>
                </a:cubicBezTo>
                <a:cubicBezTo>
                  <a:pt x="256" y="175"/>
                  <a:pt x="256" y="175"/>
                  <a:pt x="256" y="175"/>
                </a:cubicBezTo>
                <a:cubicBezTo>
                  <a:pt x="255" y="175"/>
                  <a:pt x="255" y="175"/>
                  <a:pt x="254" y="175"/>
                </a:cubicBezTo>
                <a:cubicBezTo>
                  <a:pt x="236" y="175"/>
                  <a:pt x="236" y="175"/>
                  <a:pt x="236" y="175"/>
                </a:cubicBezTo>
                <a:cubicBezTo>
                  <a:pt x="236" y="191"/>
                  <a:pt x="236" y="191"/>
                  <a:pt x="236" y="191"/>
                </a:cubicBezTo>
                <a:close/>
                <a:moveTo>
                  <a:pt x="256" y="200"/>
                </a:moveTo>
                <a:cubicBezTo>
                  <a:pt x="255" y="200"/>
                  <a:pt x="255" y="200"/>
                  <a:pt x="254" y="200"/>
                </a:cubicBezTo>
                <a:cubicBezTo>
                  <a:pt x="236" y="200"/>
                  <a:pt x="236" y="200"/>
                  <a:pt x="236" y="200"/>
                </a:cubicBezTo>
                <a:cubicBezTo>
                  <a:pt x="236" y="231"/>
                  <a:pt x="236" y="231"/>
                  <a:pt x="236" y="231"/>
                </a:cubicBezTo>
                <a:cubicBezTo>
                  <a:pt x="236" y="236"/>
                  <a:pt x="234" y="241"/>
                  <a:pt x="230" y="244"/>
                </a:cubicBezTo>
                <a:cubicBezTo>
                  <a:pt x="227" y="248"/>
                  <a:pt x="222" y="250"/>
                  <a:pt x="217" y="250"/>
                </a:cubicBezTo>
                <a:cubicBezTo>
                  <a:pt x="120" y="250"/>
                  <a:pt x="120" y="250"/>
                  <a:pt x="120" y="250"/>
                </a:cubicBezTo>
                <a:cubicBezTo>
                  <a:pt x="115" y="250"/>
                  <a:pt x="111" y="248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4" y="241"/>
                  <a:pt x="102" y="236"/>
                  <a:pt x="102" y="231"/>
                </a:cubicBezTo>
                <a:cubicBezTo>
                  <a:pt x="102" y="200"/>
                  <a:pt x="102" y="200"/>
                  <a:pt x="102" y="200"/>
                </a:cubicBezTo>
                <a:cubicBezTo>
                  <a:pt x="82" y="200"/>
                  <a:pt x="82" y="200"/>
                  <a:pt x="82" y="200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82" y="253"/>
                  <a:pt x="84" y="259"/>
                  <a:pt x="89" y="263"/>
                </a:cubicBezTo>
                <a:cubicBezTo>
                  <a:pt x="89" y="263"/>
                  <a:pt x="89" y="263"/>
                  <a:pt x="89" y="263"/>
                </a:cubicBezTo>
                <a:cubicBezTo>
                  <a:pt x="93" y="267"/>
                  <a:pt x="99" y="270"/>
                  <a:pt x="105" y="270"/>
                </a:cubicBezTo>
                <a:cubicBezTo>
                  <a:pt x="233" y="270"/>
                  <a:pt x="233" y="270"/>
                  <a:pt x="233" y="270"/>
                </a:cubicBezTo>
                <a:cubicBezTo>
                  <a:pt x="239" y="270"/>
                  <a:pt x="245" y="267"/>
                  <a:pt x="249" y="263"/>
                </a:cubicBezTo>
                <a:cubicBezTo>
                  <a:pt x="249" y="263"/>
                  <a:pt x="249" y="263"/>
                  <a:pt x="249" y="263"/>
                </a:cubicBezTo>
                <a:cubicBezTo>
                  <a:pt x="253" y="259"/>
                  <a:pt x="256" y="253"/>
                  <a:pt x="256" y="246"/>
                </a:cubicBezTo>
                <a:cubicBezTo>
                  <a:pt x="256" y="200"/>
                  <a:pt x="256" y="200"/>
                  <a:pt x="256" y="200"/>
                </a:cubicBezTo>
                <a:close/>
                <a:moveTo>
                  <a:pt x="236" y="165"/>
                </a:moveTo>
                <a:cubicBezTo>
                  <a:pt x="254" y="165"/>
                  <a:pt x="254" y="165"/>
                  <a:pt x="254" y="165"/>
                </a:cubicBezTo>
                <a:cubicBezTo>
                  <a:pt x="255" y="165"/>
                  <a:pt x="255" y="165"/>
                  <a:pt x="256" y="165"/>
                </a:cubicBezTo>
                <a:cubicBezTo>
                  <a:pt x="256" y="119"/>
                  <a:pt x="256" y="119"/>
                  <a:pt x="256" y="119"/>
                </a:cubicBezTo>
                <a:cubicBezTo>
                  <a:pt x="256" y="113"/>
                  <a:pt x="253" y="107"/>
                  <a:pt x="249" y="103"/>
                </a:cubicBezTo>
                <a:cubicBezTo>
                  <a:pt x="245" y="98"/>
                  <a:pt x="239" y="96"/>
                  <a:pt x="233" y="96"/>
                </a:cubicBezTo>
                <a:cubicBezTo>
                  <a:pt x="105" y="96"/>
                  <a:pt x="105" y="96"/>
                  <a:pt x="105" y="96"/>
                </a:cubicBezTo>
                <a:cubicBezTo>
                  <a:pt x="99" y="96"/>
                  <a:pt x="93" y="98"/>
                  <a:pt x="89" y="103"/>
                </a:cubicBezTo>
                <a:cubicBezTo>
                  <a:pt x="84" y="107"/>
                  <a:pt x="82" y="113"/>
                  <a:pt x="82" y="119"/>
                </a:cubicBezTo>
                <a:cubicBezTo>
                  <a:pt x="82" y="165"/>
                  <a:pt x="82" y="165"/>
                  <a:pt x="8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29"/>
                  <a:pt x="104" y="124"/>
                  <a:pt x="107" y="121"/>
                </a:cubicBezTo>
                <a:cubicBezTo>
                  <a:pt x="111" y="118"/>
                  <a:pt x="115" y="116"/>
                  <a:pt x="120" y="116"/>
                </a:cubicBezTo>
                <a:cubicBezTo>
                  <a:pt x="217" y="116"/>
                  <a:pt x="217" y="116"/>
                  <a:pt x="217" y="116"/>
                </a:cubicBezTo>
                <a:cubicBezTo>
                  <a:pt x="222" y="116"/>
                  <a:pt x="227" y="118"/>
                  <a:pt x="230" y="121"/>
                </a:cubicBezTo>
                <a:cubicBezTo>
                  <a:pt x="230" y="121"/>
                  <a:pt x="230" y="121"/>
                  <a:pt x="230" y="121"/>
                </a:cubicBezTo>
                <a:cubicBezTo>
                  <a:pt x="234" y="124"/>
                  <a:pt x="236" y="129"/>
                  <a:pt x="236" y="134"/>
                </a:cubicBezTo>
                <a:cubicBezTo>
                  <a:pt x="236" y="165"/>
                  <a:pt x="236" y="165"/>
                  <a:pt x="236" y="165"/>
                </a:cubicBezTo>
                <a:close/>
                <a:moveTo>
                  <a:pt x="82" y="191"/>
                </a:moveTo>
                <a:cubicBezTo>
                  <a:pt x="102" y="191"/>
                  <a:pt x="102" y="191"/>
                  <a:pt x="102" y="191"/>
                </a:cubicBezTo>
                <a:cubicBezTo>
                  <a:pt x="102" y="175"/>
                  <a:pt x="102" y="175"/>
                  <a:pt x="102" y="175"/>
                </a:cubicBezTo>
                <a:cubicBezTo>
                  <a:pt x="82" y="175"/>
                  <a:pt x="82" y="175"/>
                  <a:pt x="82" y="175"/>
                </a:cubicBezTo>
                <a:cubicBezTo>
                  <a:pt x="82" y="191"/>
                  <a:pt x="82" y="191"/>
                  <a:pt x="82" y="191"/>
                </a:cubicBezTo>
                <a:close/>
                <a:moveTo>
                  <a:pt x="207" y="211"/>
                </a:moveTo>
                <a:cubicBezTo>
                  <a:pt x="201" y="211"/>
                  <a:pt x="197" y="216"/>
                  <a:pt x="197" y="221"/>
                </a:cubicBezTo>
                <a:cubicBezTo>
                  <a:pt x="197" y="227"/>
                  <a:pt x="201" y="231"/>
                  <a:pt x="207" y="231"/>
                </a:cubicBezTo>
                <a:cubicBezTo>
                  <a:pt x="213" y="231"/>
                  <a:pt x="217" y="227"/>
                  <a:pt x="217" y="221"/>
                </a:cubicBezTo>
                <a:cubicBezTo>
                  <a:pt x="217" y="216"/>
                  <a:pt x="213" y="211"/>
                  <a:pt x="207" y="211"/>
                </a:cubicBezTo>
                <a:close/>
                <a:moveTo>
                  <a:pt x="181" y="211"/>
                </a:moveTo>
                <a:cubicBezTo>
                  <a:pt x="175" y="211"/>
                  <a:pt x="171" y="216"/>
                  <a:pt x="171" y="221"/>
                </a:cubicBezTo>
                <a:cubicBezTo>
                  <a:pt x="171" y="227"/>
                  <a:pt x="175" y="231"/>
                  <a:pt x="181" y="231"/>
                </a:cubicBezTo>
                <a:cubicBezTo>
                  <a:pt x="187" y="231"/>
                  <a:pt x="191" y="227"/>
                  <a:pt x="191" y="221"/>
                </a:cubicBezTo>
                <a:cubicBezTo>
                  <a:pt x="191" y="216"/>
                  <a:pt x="187" y="211"/>
                  <a:pt x="181" y="211"/>
                </a:cubicBezTo>
                <a:close/>
                <a:moveTo>
                  <a:pt x="155" y="211"/>
                </a:moveTo>
                <a:cubicBezTo>
                  <a:pt x="149" y="211"/>
                  <a:pt x="145" y="216"/>
                  <a:pt x="145" y="221"/>
                </a:cubicBezTo>
                <a:cubicBezTo>
                  <a:pt x="145" y="227"/>
                  <a:pt x="149" y="231"/>
                  <a:pt x="155" y="231"/>
                </a:cubicBezTo>
                <a:cubicBezTo>
                  <a:pt x="161" y="231"/>
                  <a:pt x="165" y="227"/>
                  <a:pt x="165" y="221"/>
                </a:cubicBezTo>
                <a:cubicBezTo>
                  <a:pt x="165" y="216"/>
                  <a:pt x="161" y="211"/>
                  <a:pt x="155" y="211"/>
                </a:cubicBezTo>
                <a:close/>
                <a:moveTo>
                  <a:pt x="129" y="211"/>
                </a:moveTo>
                <a:cubicBezTo>
                  <a:pt x="124" y="211"/>
                  <a:pt x="119" y="216"/>
                  <a:pt x="119" y="221"/>
                </a:cubicBezTo>
                <a:cubicBezTo>
                  <a:pt x="119" y="227"/>
                  <a:pt x="124" y="231"/>
                  <a:pt x="129" y="231"/>
                </a:cubicBezTo>
                <a:cubicBezTo>
                  <a:pt x="135" y="231"/>
                  <a:pt x="139" y="227"/>
                  <a:pt x="139" y="221"/>
                </a:cubicBezTo>
                <a:cubicBezTo>
                  <a:pt x="139" y="216"/>
                  <a:pt x="135" y="211"/>
                  <a:pt x="129" y="211"/>
                </a:cubicBezTo>
                <a:close/>
                <a:moveTo>
                  <a:pt x="207" y="186"/>
                </a:moveTo>
                <a:cubicBezTo>
                  <a:pt x="201" y="186"/>
                  <a:pt x="197" y="190"/>
                  <a:pt x="197" y="196"/>
                </a:cubicBezTo>
                <a:cubicBezTo>
                  <a:pt x="197" y="202"/>
                  <a:pt x="201" y="206"/>
                  <a:pt x="207" y="206"/>
                </a:cubicBezTo>
                <a:cubicBezTo>
                  <a:pt x="213" y="206"/>
                  <a:pt x="217" y="202"/>
                  <a:pt x="217" y="196"/>
                </a:cubicBezTo>
                <a:cubicBezTo>
                  <a:pt x="217" y="190"/>
                  <a:pt x="213" y="186"/>
                  <a:pt x="207" y="186"/>
                </a:cubicBezTo>
                <a:close/>
                <a:moveTo>
                  <a:pt x="181" y="186"/>
                </a:moveTo>
                <a:cubicBezTo>
                  <a:pt x="175" y="186"/>
                  <a:pt x="171" y="190"/>
                  <a:pt x="171" y="196"/>
                </a:cubicBezTo>
                <a:cubicBezTo>
                  <a:pt x="171" y="202"/>
                  <a:pt x="175" y="206"/>
                  <a:pt x="181" y="206"/>
                </a:cubicBezTo>
                <a:cubicBezTo>
                  <a:pt x="187" y="206"/>
                  <a:pt x="191" y="202"/>
                  <a:pt x="191" y="196"/>
                </a:cubicBezTo>
                <a:cubicBezTo>
                  <a:pt x="191" y="190"/>
                  <a:pt x="187" y="186"/>
                  <a:pt x="181" y="186"/>
                </a:cubicBezTo>
                <a:close/>
                <a:moveTo>
                  <a:pt x="155" y="186"/>
                </a:moveTo>
                <a:cubicBezTo>
                  <a:pt x="149" y="186"/>
                  <a:pt x="145" y="190"/>
                  <a:pt x="145" y="196"/>
                </a:cubicBezTo>
                <a:cubicBezTo>
                  <a:pt x="145" y="202"/>
                  <a:pt x="149" y="206"/>
                  <a:pt x="155" y="206"/>
                </a:cubicBezTo>
                <a:cubicBezTo>
                  <a:pt x="161" y="206"/>
                  <a:pt x="165" y="202"/>
                  <a:pt x="165" y="196"/>
                </a:cubicBezTo>
                <a:cubicBezTo>
                  <a:pt x="165" y="190"/>
                  <a:pt x="161" y="186"/>
                  <a:pt x="155" y="186"/>
                </a:cubicBezTo>
                <a:close/>
                <a:moveTo>
                  <a:pt x="129" y="186"/>
                </a:moveTo>
                <a:cubicBezTo>
                  <a:pt x="124" y="186"/>
                  <a:pt x="119" y="190"/>
                  <a:pt x="119" y="196"/>
                </a:cubicBezTo>
                <a:cubicBezTo>
                  <a:pt x="119" y="202"/>
                  <a:pt x="124" y="206"/>
                  <a:pt x="129" y="206"/>
                </a:cubicBezTo>
                <a:cubicBezTo>
                  <a:pt x="135" y="206"/>
                  <a:pt x="139" y="202"/>
                  <a:pt x="139" y="196"/>
                </a:cubicBezTo>
                <a:cubicBezTo>
                  <a:pt x="139" y="190"/>
                  <a:pt x="135" y="186"/>
                  <a:pt x="129" y="186"/>
                </a:cubicBezTo>
                <a:close/>
                <a:moveTo>
                  <a:pt x="207" y="160"/>
                </a:moveTo>
                <a:cubicBezTo>
                  <a:pt x="201" y="160"/>
                  <a:pt x="197" y="165"/>
                  <a:pt x="197" y="170"/>
                </a:cubicBezTo>
                <a:cubicBezTo>
                  <a:pt x="197" y="176"/>
                  <a:pt x="201" y="181"/>
                  <a:pt x="207" y="181"/>
                </a:cubicBezTo>
                <a:cubicBezTo>
                  <a:pt x="213" y="181"/>
                  <a:pt x="217" y="176"/>
                  <a:pt x="217" y="170"/>
                </a:cubicBezTo>
                <a:cubicBezTo>
                  <a:pt x="217" y="165"/>
                  <a:pt x="213" y="160"/>
                  <a:pt x="207" y="160"/>
                </a:cubicBezTo>
                <a:close/>
                <a:moveTo>
                  <a:pt x="181" y="160"/>
                </a:moveTo>
                <a:cubicBezTo>
                  <a:pt x="175" y="160"/>
                  <a:pt x="171" y="165"/>
                  <a:pt x="171" y="170"/>
                </a:cubicBezTo>
                <a:cubicBezTo>
                  <a:pt x="171" y="176"/>
                  <a:pt x="175" y="181"/>
                  <a:pt x="181" y="181"/>
                </a:cubicBezTo>
                <a:cubicBezTo>
                  <a:pt x="187" y="181"/>
                  <a:pt x="191" y="176"/>
                  <a:pt x="191" y="170"/>
                </a:cubicBezTo>
                <a:cubicBezTo>
                  <a:pt x="191" y="165"/>
                  <a:pt x="187" y="160"/>
                  <a:pt x="181" y="160"/>
                </a:cubicBezTo>
                <a:close/>
                <a:moveTo>
                  <a:pt x="155" y="160"/>
                </a:moveTo>
                <a:cubicBezTo>
                  <a:pt x="149" y="160"/>
                  <a:pt x="145" y="165"/>
                  <a:pt x="145" y="170"/>
                </a:cubicBezTo>
                <a:cubicBezTo>
                  <a:pt x="145" y="176"/>
                  <a:pt x="149" y="181"/>
                  <a:pt x="155" y="181"/>
                </a:cubicBezTo>
                <a:cubicBezTo>
                  <a:pt x="161" y="181"/>
                  <a:pt x="165" y="176"/>
                  <a:pt x="165" y="170"/>
                </a:cubicBezTo>
                <a:cubicBezTo>
                  <a:pt x="165" y="165"/>
                  <a:pt x="161" y="160"/>
                  <a:pt x="155" y="160"/>
                </a:cubicBezTo>
                <a:close/>
                <a:moveTo>
                  <a:pt x="129" y="160"/>
                </a:moveTo>
                <a:cubicBezTo>
                  <a:pt x="124" y="160"/>
                  <a:pt x="119" y="165"/>
                  <a:pt x="119" y="170"/>
                </a:cubicBezTo>
                <a:cubicBezTo>
                  <a:pt x="119" y="176"/>
                  <a:pt x="124" y="181"/>
                  <a:pt x="129" y="181"/>
                </a:cubicBezTo>
                <a:cubicBezTo>
                  <a:pt x="135" y="181"/>
                  <a:pt x="139" y="176"/>
                  <a:pt x="139" y="170"/>
                </a:cubicBezTo>
                <a:cubicBezTo>
                  <a:pt x="139" y="165"/>
                  <a:pt x="135" y="160"/>
                  <a:pt x="129" y="160"/>
                </a:cubicBezTo>
                <a:close/>
                <a:moveTo>
                  <a:pt x="207" y="135"/>
                </a:moveTo>
                <a:cubicBezTo>
                  <a:pt x="201" y="135"/>
                  <a:pt x="197" y="139"/>
                  <a:pt x="197" y="145"/>
                </a:cubicBezTo>
                <a:cubicBezTo>
                  <a:pt x="197" y="151"/>
                  <a:pt x="201" y="155"/>
                  <a:pt x="207" y="155"/>
                </a:cubicBezTo>
                <a:cubicBezTo>
                  <a:pt x="213" y="155"/>
                  <a:pt x="217" y="151"/>
                  <a:pt x="217" y="145"/>
                </a:cubicBezTo>
                <a:cubicBezTo>
                  <a:pt x="217" y="139"/>
                  <a:pt x="213" y="135"/>
                  <a:pt x="207" y="135"/>
                </a:cubicBezTo>
                <a:close/>
                <a:moveTo>
                  <a:pt x="181" y="135"/>
                </a:moveTo>
                <a:cubicBezTo>
                  <a:pt x="175" y="135"/>
                  <a:pt x="171" y="139"/>
                  <a:pt x="171" y="145"/>
                </a:cubicBezTo>
                <a:cubicBezTo>
                  <a:pt x="171" y="151"/>
                  <a:pt x="175" y="155"/>
                  <a:pt x="181" y="155"/>
                </a:cubicBezTo>
                <a:cubicBezTo>
                  <a:pt x="187" y="155"/>
                  <a:pt x="191" y="151"/>
                  <a:pt x="191" y="145"/>
                </a:cubicBezTo>
                <a:cubicBezTo>
                  <a:pt x="191" y="139"/>
                  <a:pt x="187" y="135"/>
                  <a:pt x="181" y="135"/>
                </a:cubicBezTo>
                <a:close/>
                <a:moveTo>
                  <a:pt x="155" y="135"/>
                </a:moveTo>
                <a:cubicBezTo>
                  <a:pt x="149" y="135"/>
                  <a:pt x="145" y="139"/>
                  <a:pt x="145" y="145"/>
                </a:cubicBezTo>
                <a:cubicBezTo>
                  <a:pt x="145" y="151"/>
                  <a:pt x="149" y="155"/>
                  <a:pt x="155" y="155"/>
                </a:cubicBezTo>
                <a:cubicBezTo>
                  <a:pt x="161" y="155"/>
                  <a:pt x="165" y="151"/>
                  <a:pt x="165" y="145"/>
                </a:cubicBezTo>
                <a:cubicBezTo>
                  <a:pt x="165" y="139"/>
                  <a:pt x="161" y="135"/>
                  <a:pt x="155" y="135"/>
                </a:cubicBezTo>
                <a:close/>
                <a:moveTo>
                  <a:pt x="129" y="135"/>
                </a:moveTo>
                <a:cubicBezTo>
                  <a:pt x="124" y="135"/>
                  <a:pt x="119" y="139"/>
                  <a:pt x="119" y="145"/>
                </a:cubicBezTo>
                <a:cubicBezTo>
                  <a:pt x="119" y="151"/>
                  <a:pt x="124" y="155"/>
                  <a:pt x="129" y="155"/>
                </a:cubicBezTo>
                <a:cubicBezTo>
                  <a:pt x="135" y="155"/>
                  <a:pt x="139" y="151"/>
                  <a:pt x="139" y="145"/>
                </a:cubicBezTo>
                <a:cubicBezTo>
                  <a:pt x="139" y="139"/>
                  <a:pt x="135" y="135"/>
                  <a:pt x="129" y="135"/>
                </a:cubicBezTo>
                <a:close/>
                <a:moveTo>
                  <a:pt x="56" y="12"/>
                </a:moveTo>
                <a:cubicBezTo>
                  <a:pt x="54" y="11"/>
                  <a:pt x="52" y="10"/>
                  <a:pt x="50" y="10"/>
                </a:cubicBezTo>
                <a:cubicBezTo>
                  <a:pt x="48" y="10"/>
                  <a:pt x="46" y="11"/>
                  <a:pt x="45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3" y="13"/>
                  <a:pt x="43" y="15"/>
                  <a:pt x="43" y="17"/>
                </a:cubicBezTo>
                <a:cubicBezTo>
                  <a:pt x="43" y="20"/>
                  <a:pt x="43" y="21"/>
                  <a:pt x="45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6" y="24"/>
                  <a:pt x="48" y="25"/>
                  <a:pt x="50" y="25"/>
                </a:cubicBezTo>
                <a:cubicBezTo>
                  <a:pt x="52" y="25"/>
                  <a:pt x="54" y="24"/>
                  <a:pt x="56" y="23"/>
                </a:cubicBezTo>
                <a:cubicBezTo>
                  <a:pt x="56" y="23"/>
                  <a:pt x="56" y="23"/>
                  <a:pt x="56" y="23"/>
                </a:cubicBezTo>
                <a:cubicBezTo>
                  <a:pt x="57" y="21"/>
                  <a:pt x="58" y="20"/>
                  <a:pt x="58" y="17"/>
                </a:cubicBezTo>
                <a:cubicBezTo>
                  <a:pt x="58" y="15"/>
                  <a:pt x="57" y="13"/>
                  <a:pt x="5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9" name="Conector reto 148"/>
          <p:cNvCxnSpPr/>
          <p:nvPr/>
        </p:nvCxnSpPr>
        <p:spPr>
          <a:xfrm>
            <a:off x="17958203" y="8139128"/>
            <a:ext cx="2992666" cy="0"/>
          </a:xfrm>
          <a:prstGeom prst="line">
            <a:avLst/>
          </a:prstGeom>
          <a:ln w="101600">
            <a:solidFill>
              <a:srgbClr val="ECC5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" name="Agrupar 206"/>
          <p:cNvGrpSpPr/>
          <p:nvPr/>
        </p:nvGrpSpPr>
        <p:grpSpPr>
          <a:xfrm>
            <a:off x="17959065" y="8695929"/>
            <a:ext cx="2939368" cy="2943633"/>
            <a:chOff x="1588" y="0"/>
            <a:chExt cx="1095374" cy="1096963"/>
          </a:xfrm>
          <a:solidFill>
            <a:schemeClr val="bg1">
              <a:alpha val="30000"/>
            </a:schemeClr>
          </a:solidFill>
        </p:grpSpPr>
        <p:sp>
          <p:nvSpPr>
            <p:cNvPr id="153" name="Freeform 70"/>
            <p:cNvSpPr>
              <a:spLocks noEditPoints="1"/>
            </p:cNvSpPr>
            <p:nvPr/>
          </p:nvSpPr>
          <p:spPr bwMode="auto">
            <a:xfrm>
              <a:off x="1588" y="0"/>
              <a:ext cx="1095374" cy="1096963"/>
            </a:xfrm>
            <a:custGeom>
              <a:avLst/>
              <a:gdLst>
                <a:gd name="T0" fmla="*/ 690 w 690"/>
                <a:gd name="T1" fmla="*/ 691 h 691"/>
                <a:gd name="T2" fmla="*/ 0 w 690"/>
                <a:gd name="T3" fmla="*/ 691 h 691"/>
                <a:gd name="T4" fmla="*/ 0 w 690"/>
                <a:gd name="T5" fmla="*/ 0 h 691"/>
                <a:gd name="T6" fmla="*/ 690 w 690"/>
                <a:gd name="T7" fmla="*/ 0 h 691"/>
                <a:gd name="T8" fmla="*/ 690 w 690"/>
                <a:gd name="T9" fmla="*/ 691 h 691"/>
                <a:gd name="T10" fmla="*/ 22 w 690"/>
                <a:gd name="T11" fmla="*/ 669 h 691"/>
                <a:gd name="T12" fmla="*/ 668 w 690"/>
                <a:gd name="T13" fmla="*/ 669 h 691"/>
                <a:gd name="T14" fmla="*/ 668 w 690"/>
                <a:gd name="T15" fmla="*/ 22 h 691"/>
                <a:gd name="T16" fmla="*/ 22 w 690"/>
                <a:gd name="T17" fmla="*/ 22 h 691"/>
                <a:gd name="T18" fmla="*/ 22 w 690"/>
                <a:gd name="T19" fmla="*/ 66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0" h="691">
                  <a:moveTo>
                    <a:pt x="690" y="691"/>
                  </a:moveTo>
                  <a:lnTo>
                    <a:pt x="0" y="691"/>
                  </a:lnTo>
                  <a:lnTo>
                    <a:pt x="0" y="0"/>
                  </a:lnTo>
                  <a:lnTo>
                    <a:pt x="690" y="0"/>
                  </a:lnTo>
                  <a:lnTo>
                    <a:pt x="690" y="691"/>
                  </a:lnTo>
                  <a:close/>
                  <a:moveTo>
                    <a:pt x="22" y="669"/>
                  </a:moveTo>
                  <a:lnTo>
                    <a:pt x="668" y="669"/>
                  </a:lnTo>
                  <a:lnTo>
                    <a:pt x="668" y="22"/>
                  </a:lnTo>
                  <a:lnTo>
                    <a:pt x="22" y="22"/>
                  </a:lnTo>
                  <a:lnTo>
                    <a:pt x="22" y="6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Rectangle 71"/>
            <p:cNvSpPr>
              <a:spLocks noChangeArrowheads="1"/>
            </p:cNvSpPr>
            <p:nvPr/>
          </p:nvSpPr>
          <p:spPr bwMode="auto">
            <a:xfrm>
              <a:off x="55679" y="136525"/>
              <a:ext cx="996454" cy="4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Rectangle 72"/>
            <p:cNvSpPr>
              <a:spLocks noChangeArrowheads="1"/>
            </p:cNvSpPr>
            <p:nvPr/>
          </p:nvSpPr>
          <p:spPr bwMode="auto">
            <a:xfrm>
              <a:off x="69850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Rectangle 73"/>
            <p:cNvSpPr>
              <a:spLocks noChangeArrowheads="1"/>
            </p:cNvSpPr>
            <p:nvPr/>
          </p:nvSpPr>
          <p:spPr bwMode="auto">
            <a:xfrm>
              <a:off x="138113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Rectangle 74"/>
            <p:cNvSpPr>
              <a:spLocks noChangeArrowheads="1"/>
            </p:cNvSpPr>
            <p:nvPr/>
          </p:nvSpPr>
          <p:spPr bwMode="auto">
            <a:xfrm>
              <a:off x="206375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Rectangle 76"/>
            <p:cNvSpPr>
              <a:spLocks noChangeArrowheads="1"/>
            </p:cNvSpPr>
            <p:nvPr/>
          </p:nvSpPr>
          <p:spPr bwMode="auto">
            <a:xfrm>
              <a:off x="344488" y="68263"/>
              <a:ext cx="684212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77"/>
            <p:cNvSpPr>
              <a:spLocks noEditPoints="1"/>
            </p:cNvSpPr>
            <p:nvPr/>
          </p:nvSpPr>
          <p:spPr bwMode="auto">
            <a:xfrm>
              <a:off x="258763" y="393700"/>
              <a:ext cx="581025" cy="446088"/>
            </a:xfrm>
            <a:custGeom>
              <a:avLst/>
              <a:gdLst>
                <a:gd name="T0" fmla="*/ 132 w 136"/>
                <a:gd name="T1" fmla="*/ 104 h 104"/>
                <a:gd name="T2" fmla="*/ 4 w 136"/>
                <a:gd name="T3" fmla="*/ 104 h 104"/>
                <a:gd name="T4" fmla="*/ 0 w 136"/>
                <a:gd name="T5" fmla="*/ 102 h 104"/>
                <a:gd name="T6" fmla="*/ 1 w 136"/>
                <a:gd name="T7" fmla="*/ 98 h 104"/>
                <a:gd name="T8" fmla="*/ 65 w 136"/>
                <a:gd name="T9" fmla="*/ 2 h 104"/>
                <a:gd name="T10" fmla="*/ 71 w 136"/>
                <a:gd name="T11" fmla="*/ 2 h 104"/>
                <a:gd name="T12" fmla="*/ 135 w 136"/>
                <a:gd name="T13" fmla="*/ 98 h 104"/>
                <a:gd name="T14" fmla="*/ 136 w 136"/>
                <a:gd name="T15" fmla="*/ 102 h 104"/>
                <a:gd name="T16" fmla="*/ 132 w 136"/>
                <a:gd name="T17" fmla="*/ 104 h 104"/>
                <a:gd name="T18" fmla="*/ 11 w 136"/>
                <a:gd name="T19" fmla="*/ 96 h 104"/>
                <a:gd name="T20" fmla="*/ 125 w 136"/>
                <a:gd name="T21" fmla="*/ 96 h 104"/>
                <a:gd name="T22" fmla="*/ 68 w 136"/>
                <a:gd name="T23" fmla="*/ 11 h 104"/>
                <a:gd name="T24" fmla="*/ 11 w 136"/>
                <a:gd name="T25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104">
                  <a:moveTo>
                    <a:pt x="132" y="104"/>
                  </a:moveTo>
                  <a:cubicBezTo>
                    <a:pt x="4" y="104"/>
                    <a:pt x="4" y="104"/>
                    <a:pt x="4" y="104"/>
                  </a:cubicBezTo>
                  <a:cubicBezTo>
                    <a:pt x="3" y="104"/>
                    <a:pt x="1" y="103"/>
                    <a:pt x="0" y="102"/>
                  </a:cubicBezTo>
                  <a:cubicBezTo>
                    <a:pt x="0" y="101"/>
                    <a:pt x="0" y="99"/>
                    <a:pt x="1" y="98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0"/>
                    <a:pt x="70" y="0"/>
                    <a:pt x="71" y="2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36" y="99"/>
                    <a:pt x="136" y="101"/>
                    <a:pt x="136" y="102"/>
                  </a:cubicBezTo>
                  <a:cubicBezTo>
                    <a:pt x="135" y="103"/>
                    <a:pt x="133" y="104"/>
                    <a:pt x="132" y="104"/>
                  </a:cubicBezTo>
                  <a:close/>
                  <a:moveTo>
                    <a:pt x="11" y="96"/>
                  </a:moveTo>
                  <a:cubicBezTo>
                    <a:pt x="125" y="96"/>
                    <a:pt x="125" y="96"/>
                    <a:pt x="125" y="96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11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Rectangle 78"/>
            <p:cNvSpPr>
              <a:spLocks noChangeArrowheads="1"/>
            </p:cNvSpPr>
            <p:nvPr/>
          </p:nvSpPr>
          <p:spPr bwMode="auto">
            <a:xfrm>
              <a:off x="531813" y="547688"/>
              <a:ext cx="3492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Rectangle 79"/>
            <p:cNvSpPr>
              <a:spLocks noChangeArrowheads="1"/>
            </p:cNvSpPr>
            <p:nvPr/>
          </p:nvSpPr>
          <p:spPr bwMode="auto">
            <a:xfrm>
              <a:off x="531813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Rectangle 80"/>
            <p:cNvSpPr>
              <a:spLocks noChangeArrowheads="1"/>
            </p:cNvSpPr>
            <p:nvPr/>
          </p:nvSpPr>
          <p:spPr bwMode="auto">
            <a:xfrm>
              <a:off x="1206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Rectangle 81"/>
            <p:cNvSpPr>
              <a:spLocks noChangeArrowheads="1"/>
            </p:cNvSpPr>
            <p:nvPr/>
          </p:nvSpPr>
          <p:spPr bwMode="auto">
            <a:xfrm>
              <a:off x="25876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Rectangle 82"/>
            <p:cNvSpPr>
              <a:spLocks noChangeArrowheads="1"/>
            </p:cNvSpPr>
            <p:nvPr/>
          </p:nvSpPr>
          <p:spPr bwMode="auto">
            <a:xfrm>
              <a:off x="32702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Rectangle 83"/>
            <p:cNvSpPr>
              <a:spLocks noChangeArrowheads="1"/>
            </p:cNvSpPr>
            <p:nvPr/>
          </p:nvSpPr>
          <p:spPr bwMode="auto">
            <a:xfrm>
              <a:off x="395288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Rectangle 84"/>
            <p:cNvSpPr>
              <a:spLocks noChangeArrowheads="1"/>
            </p:cNvSpPr>
            <p:nvPr/>
          </p:nvSpPr>
          <p:spPr bwMode="auto">
            <a:xfrm>
              <a:off x="4635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85"/>
            <p:cNvSpPr>
              <a:spLocks noChangeArrowheads="1"/>
            </p:cNvSpPr>
            <p:nvPr/>
          </p:nvSpPr>
          <p:spPr bwMode="auto">
            <a:xfrm>
              <a:off x="531813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86"/>
            <p:cNvSpPr>
              <a:spLocks noChangeArrowheads="1"/>
            </p:cNvSpPr>
            <p:nvPr/>
          </p:nvSpPr>
          <p:spPr bwMode="auto">
            <a:xfrm>
              <a:off x="600075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87"/>
            <p:cNvSpPr>
              <a:spLocks noChangeArrowheads="1"/>
            </p:cNvSpPr>
            <p:nvPr/>
          </p:nvSpPr>
          <p:spPr bwMode="auto">
            <a:xfrm>
              <a:off x="668338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Rectangle 88"/>
            <p:cNvSpPr>
              <a:spLocks noChangeArrowheads="1"/>
            </p:cNvSpPr>
            <p:nvPr/>
          </p:nvSpPr>
          <p:spPr bwMode="auto">
            <a:xfrm>
              <a:off x="73660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89"/>
            <p:cNvSpPr>
              <a:spLocks noChangeArrowheads="1"/>
            </p:cNvSpPr>
            <p:nvPr/>
          </p:nvSpPr>
          <p:spPr bwMode="auto">
            <a:xfrm>
              <a:off x="80645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ectangle 90"/>
            <p:cNvSpPr>
              <a:spLocks noChangeArrowheads="1"/>
            </p:cNvSpPr>
            <p:nvPr/>
          </p:nvSpPr>
          <p:spPr bwMode="auto">
            <a:xfrm>
              <a:off x="87471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Rectangle 91"/>
            <p:cNvSpPr>
              <a:spLocks noChangeArrowheads="1"/>
            </p:cNvSpPr>
            <p:nvPr/>
          </p:nvSpPr>
          <p:spPr bwMode="auto">
            <a:xfrm>
              <a:off x="19050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Rectangle 92"/>
            <p:cNvSpPr>
              <a:spLocks noChangeArrowheads="1"/>
            </p:cNvSpPr>
            <p:nvPr/>
          </p:nvSpPr>
          <p:spPr bwMode="auto">
            <a:xfrm>
              <a:off x="94297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Rectangle 93"/>
            <p:cNvSpPr>
              <a:spLocks noChangeArrowheads="1"/>
            </p:cNvSpPr>
            <p:nvPr/>
          </p:nvSpPr>
          <p:spPr bwMode="auto">
            <a:xfrm>
              <a:off x="1206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Rectangle 94"/>
            <p:cNvSpPr>
              <a:spLocks noChangeArrowheads="1"/>
            </p:cNvSpPr>
            <p:nvPr/>
          </p:nvSpPr>
          <p:spPr bwMode="auto">
            <a:xfrm>
              <a:off x="25876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Rectangle 95"/>
            <p:cNvSpPr>
              <a:spLocks noChangeArrowheads="1"/>
            </p:cNvSpPr>
            <p:nvPr/>
          </p:nvSpPr>
          <p:spPr bwMode="auto">
            <a:xfrm>
              <a:off x="19050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Rectangle 96"/>
            <p:cNvSpPr>
              <a:spLocks noChangeArrowheads="1"/>
            </p:cNvSpPr>
            <p:nvPr/>
          </p:nvSpPr>
          <p:spPr bwMode="auto">
            <a:xfrm>
              <a:off x="87471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Rectangle 97"/>
            <p:cNvSpPr>
              <a:spLocks noChangeArrowheads="1"/>
            </p:cNvSpPr>
            <p:nvPr/>
          </p:nvSpPr>
          <p:spPr bwMode="auto">
            <a:xfrm>
              <a:off x="32702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Rectangle 98"/>
            <p:cNvSpPr>
              <a:spLocks noChangeArrowheads="1"/>
            </p:cNvSpPr>
            <p:nvPr/>
          </p:nvSpPr>
          <p:spPr bwMode="auto">
            <a:xfrm>
              <a:off x="395288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Rectangle 99"/>
            <p:cNvSpPr>
              <a:spLocks noChangeArrowheads="1"/>
            </p:cNvSpPr>
            <p:nvPr/>
          </p:nvSpPr>
          <p:spPr bwMode="auto">
            <a:xfrm>
              <a:off x="4635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Rectangle 100"/>
            <p:cNvSpPr>
              <a:spLocks noChangeArrowheads="1"/>
            </p:cNvSpPr>
            <p:nvPr/>
          </p:nvSpPr>
          <p:spPr bwMode="auto">
            <a:xfrm>
              <a:off x="531813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Rectangle 101"/>
            <p:cNvSpPr>
              <a:spLocks noChangeArrowheads="1"/>
            </p:cNvSpPr>
            <p:nvPr/>
          </p:nvSpPr>
          <p:spPr bwMode="auto">
            <a:xfrm>
              <a:off x="600075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Rectangle 102"/>
            <p:cNvSpPr>
              <a:spLocks noChangeArrowheads="1"/>
            </p:cNvSpPr>
            <p:nvPr/>
          </p:nvSpPr>
          <p:spPr bwMode="auto">
            <a:xfrm>
              <a:off x="668338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Rectangle 103"/>
            <p:cNvSpPr>
              <a:spLocks noChangeArrowheads="1"/>
            </p:cNvSpPr>
            <p:nvPr/>
          </p:nvSpPr>
          <p:spPr bwMode="auto">
            <a:xfrm>
              <a:off x="73660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Rectangle 104"/>
            <p:cNvSpPr>
              <a:spLocks noChangeArrowheads="1"/>
            </p:cNvSpPr>
            <p:nvPr/>
          </p:nvSpPr>
          <p:spPr bwMode="auto">
            <a:xfrm>
              <a:off x="80645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Rectangle 105"/>
            <p:cNvSpPr>
              <a:spLocks noChangeArrowheads="1"/>
            </p:cNvSpPr>
            <p:nvPr/>
          </p:nvSpPr>
          <p:spPr bwMode="auto">
            <a:xfrm>
              <a:off x="94297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Rectangle 106"/>
            <p:cNvSpPr>
              <a:spLocks noChangeArrowheads="1"/>
            </p:cNvSpPr>
            <p:nvPr/>
          </p:nvSpPr>
          <p:spPr bwMode="auto">
            <a:xfrm>
              <a:off x="942975" y="3937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Rectangle 107"/>
            <p:cNvSpPr>
              <a:spLocks noChangeArrowheads="1"/>
            </p:cNvSpPr>
            <p:nvPr/>
          </p:nvSpPr>
          <p:spPr bwMode="auto">
            <a:xfrm>
              <a:off x="942975" y="4619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Rectangle 108"/>
            <p:cNvSpPr>
              <a:spLocks noChangeArrowheads="1"/>
            </p:cNvSpPr>
            <p:nvPr/>
          </p:nvSpPr>
          <p:spPr bwMode="auto">
            <a:xfrm>
              <a:off x="942975" y="531813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Rectangle 109"/>
            <p:cNvSpPr>
              <a:spLocks noChangeArrowheads="1"/>
            </p:cNvSpPr>
            <p:nvPr/>
          </p:nvSpPr>
          <p:spPr bwMode="auto">
            <a:xfrm>
              <a:off x="942975" y="6000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Rectangle 110"/>
            <p:cNvSpPr>
              <a:spLocks noChangeArrowheads="1"/>
            </p:cNvSpPr>
            <p:nvPr/>
          </p:nvSpPr>
          <p:spPr bwMode="auto">
            <a:xfrm>
              <a:off x="942975" y="6683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Rectangle 111"/>
            <p:cNvSpPr>
              <a:spLocks noChangeArrowheads="1"/>
            </p:cNvSpPr>
            <p:nvPr/>
          </p:nvSpPr>
          <p:spPr bwMode="auto">
            <a:xfrm>
              <a:off x="942975" y="7366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Rectangle 112"/>
            <p:cNvSpPr>
              <a:spLocks noChangeArrowheads="1"/>
            </p:cNvSpPr>
            <p:nvPr/>
          </p:nvSpPr>
          <p:spPr bwMode="auto">
            <a:xfrm>
              <a:off x="942975" y="8048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Rectangle 113"/>
            <p:cNvSpPr>
              <a:spLocks noChangeArrowheads="1"/>
            </p:cNvSpPr>
            <p:nvPr/>
          </p:nvSpPr>
          <p:spPr bwMode="auto">
            <a:xfrm>
              <a:off x="942975" y="8731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Rectangle 114"/>
            <p:cNvSpPr>
              <a:spLocks noChangeArrowheads="1"/>
            </p:cNvSpPr>
            <p:nvPr/>
          </p:nvSpPr>
          <p:spPr bwMode="auto">
            <a:xfrm>
              <a:off x="942975" y="3254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Rectangle 115"/>
            <p:cNvSpPr>
              <a:spLocks noChangeArrowheads="1"/>
            </p:cNvSpPr>
            <p:nvPr/>
          </p:nvSpPr>
          <p:spPr bwMode="auto">
            <a:xfrm>
              <a:off x="120650" y="3937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Rectangle 116"/>
            <p:cNvSpPr>
              <a:spLocks noChangeArrowheads="1"/>
            </p:cNvSpPr>
            <p:nvPr/>
          </p:nvSpPr>
          <p:spPr bwMode="auto">
            <a:xfrm>
              <a:off x="120650" y="3254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Rectangle 117"/>
            <p:cNvSpPr>
              <a:spLocks noChangeArrowheads="1"/>
            </p:cNvSpPr>
            <p:nvPr/>
          </p:nvSpPr>
          <p:spPr bwMode="auto">
            <a:xfrm>
              <a:off x="120650" y="4619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Rectangle 118"/>
            <p:cNvSpPr>
              <a:spLocks noChangeArrowheads="1"/>
            </p:cNvSpPr>
            <p:nvPr/>
          </p:nvSpPr>
          <p:spPr bwMode="auto">
            <a:xfrm>
              <a:off x="120650" y="531813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Rectangle 119"/>
            <p:cNvSpPr>
              <a:spLocks noChangeArrowheads="1"/>
            </p:cNvSpPr>
            <p:nvPr/>
          </p:nvSpPr>
          <p:spPr bwMode="auto">
            <a:xfrm>
              <a:off x="120650" y="6000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120"/>
            <p:cNvSpPr>
              <a:spLocks noChangeArrowheads="1"/>
            </p:cNvSpPr>
            <p:nvPr/>
          </p:nvSpPr>
          <p:spPr bwMode="auto">
            <a:xfrm>
              <a:off x="120650" y="6683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Rectangle 121"/>
            <p:cNvSpPr>
              <a:spLocks noChangeArrowheads="1"/>
            </p:cNvSpPr>
            <p:nvPr/>
          </p:nvSpPr>
          <p:spPr bwMode="auto">
            <a:xfrm>
              <a:off x="120650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Rectangle 122"/>
            <p:cNvSpPr>
              <a:spLocks noChangeArrowheads="1"/>
            </p:cNvSpPr>
            <p:nvPr/>
          </p:nvSpPr>
          <p:spPr bwMode="auto">
            <a:xfrm>
              <a:off x="120650" y="8048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Rectangle 123"/>
            <p:cNvSpPr>
              <a:spLocks noChangeArrowheads="1"/>
            </p:cNvSpPr>
            <p:nvPr/>
          </p:nvSpPr>
          <p:spPr bwMode="auto">
            <a:xfrm>
              <a:off x="120650" y="873125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3" name="CaixaDeTexto 212"/>
          <p:cNvSpPr txBox="1"/>
          <p:nvPr/>
        </p:nvSpPr>
        <p:spPr>
          <a:xfrm>
            <a:off x="1597754" y="6720876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4" name="CaixaDeTexto 213"/>
          <p:cNvSpPr txBox="1"/>
          <p:nvPr/>
        </p:nvSpPr>
        <p:spPr>
          <a:xfrm>
            <a:off x="20881329" y="7645063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5" name="CaixaDeTexto 214"/>
          <p:cNvSpPr txBox="1"/>
          <p:nvPr/>
        </p:nvSpPr>
        <p:spPr>
          <a:xfrm>
            <a:off x="20509360" y="5903421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grpSp>
        <p:nvGrpSpPr>
          <p:cNvPr id="227" name="Agrupar 226"/>
          <p:cNvGrpSpPr/>
          <p:nvPr/>
        </p:nvGrpSpPr>
        <p:grpSpPr>
          <a:xfrm>
            <a:off x="21617468" y="6542980"/>
            <a:ext cx="1559704" cy="1564233"/>
            <a:chOff x="6350" y="0"/>
            <a:chExt cx="1093787" cy="1096963"/>
          </a:xfrm>
          <a:solidFill>
            <a:schemeClr val="bg1">
              <a:alpha val="20000"/>
            </a:schemeClr>
          </a:solidFill>
        </p:grpSpPr>
        <p:sp>
          <p:nvSpPr>
            <p:cNvPr id="219" name="Freeform 127"/>
            <p:cNvSpPr>
              <a:spLocks/>
            </p:cNvSpPr>
            <p:nvPr/>
          </p:nvSpPr>
          <p:spPr bwMode="auto">
            <a:xfrm>
              <a:off x="6350" y="0"/>
              <a:ext cx="1093787" cy="719138"/>
            </a:xfrm>
            <a:custGeom>
              <a:avLst/>
              <a:gdLst>
                <a:gd name="T0" fmla="*/ 204 w 256"/>
                <a:gd name="T1" fmla="*/ 168 h 168"/>
                <a:gd name="T2" fmla="*/ 172 w 256"/>
                <a:gd name="T3" fmla="*/ 168 h 168"/>
                <a:gd name="T4" fmla="*/ 172 w 256"/>
                <a:gd name="T5" fmla="*/ 160 h 168"/>
                <a:gd name="T6" fmla="*/ 204 w 256"/>
                <a:gd name="T7" fmla="*/ 160 h 168"/>
                <a:gd name="T8" fmla="*/ 248 w 256"/>
                <a:gd name="T9" fmla="*/ 116 h 168"/>
                <a:gd name="T10" fmla="*/ 212 w 256"/>
                <a:gd name="T11" fmla="*/ 76 h 168"/>
                <a:gd name="T12" fmla="*/ 208 w 256"/>
                <a:gd name="T13" fmla="*/ 76 h 168"/>
                <a:gd name="T14" fmla="*/ 208 w 256"/>
                <a:gd name="T15" fmla="*/ 72 h 168"/>
                <a:gd name="T16" fmla="*/ 176 w 256"/>
                <a:gd name="T17" fmla="*/ 40 h 168"/>
                <a:gd name="T18" fmla="*/ 170 w 256"/>
                <a:gd name="T19" fmla="*/ 40 h 168"/>
                <a:gd name="T20" fmla="*/ 169 w 256"/>
                <a:gd name="T21" fmla="*/ 38 h 168"/>
                <a:gd name="T22" fmla="*/ 116 w 256"/>
                <a:gd name="T23" fmla="*/ 8 h 168"/>
                <a:gd name="T24" fmla="*/ 56 w 256"/>
                <a:gd name="T25" fmla="*/ 68 h 168"/>
                <a:gd name="T26" fmla="*/ 56 w 256"/>
                <a:gd name="T27" fmla="*/ 72 h 168"/>
                <a:gd name="T28" fmla="*/ 52 w 256"/>
                <a:gd name="T29" fmla="*/ 72 h 168"/>
                <a:gd name="T30" fmla="*/ 8 w 256"/>
                <a:gd name="T31" fmla="*/ 116 h 168"/>
                <a:gd name="T32" fmla="*/ 52 w 256"/>
                <a:gd name="T33" fmla="*/ 160 h 168"/>
                <a:gd name="T34" fmla="*/ 84 w 256"/>
                <a:gd name="T35" fmla="*/ 160 h 168"/>
                <a:gd name="T36" fmla="*/ 84 w 256"/>
                <a:gd name="T37" fmla="*/ 168 h 168"/>
                <a:gd name="T38" fmla="*/ 52 w 256"/>
                <a:gd name="T39" fmla="*/ 168 h 168"/>
                <a:gd name="T40" fmla="*/ 0 w 256"/>
                <a:gd name="T41" fmla="*/ 116 h 168"/>
                <a:gd name="T42" fmla="*/ 48 w 256"/>
                <a:gd name="T43" fmla="*/ 64 h 168"/>
                <a:gd name="T44" fmla="*/ 116 w 256"/>
                <a:gd name="T45" fmla="*/ 0 h 168"/>
                <a:gd name="T46" fmla="*/ 174 w 256"/>
                <a:gd name="T47" fmla="*/ 32 h 168"/>
                <a:gd name="T48" fmla="*/ 176 w 256"/>
                <a:gd name="T49" fmla="*/ 32 h 168"/>
                <a:gd name="T50" fmla="*/ 216 w 256"/>
                <a:gd name="T51" fmla="*/ 68 h 168"/>
                <a:gd name="T52" fmla="*/ 256 w 256"/>
                <a:gd name="T53" fmla="*/ 116 h 168"/>
                <a:gd name="T54" fmla="*/ 204 w 256"/>
                <a:gd name="T5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6" h="168">
                  <a:moveTo>
                    <a:pt x="204" y="168"/>
                  </a:moveTo>
                  <a:cubicBezTo>
                    <a:pt x="172" y="168"/>
                    <a:pt x="172" y="168"/>
                    <a:pt x="172" y="168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28" y="160"/>
                    <a:pt x="248" y="140"/>
                    <a:pt x="248" y="116"/>
                  </a:cubicBezTo>
                  <a:cubicBezTo>
                    <a:pt x="248" y="93"/>
                    <a:pt x="233" y="76"/>
                    <a:pt x="212" y="76"/>
                  </a:cubicBezTo>
                  <a:cubicBezTo>
                    <a:pt x="208" y="76"/>
                    <a:pt x="208" y="76"/>
                    <a:pt x="208" y="76"/>
                  </a:cubicBezTo>
                  <a:cubicBezTo>
                    <a:pt x="208" y="72"/>
                    <a:pt x="208" y="72"/>
                    <a:pt x="208" y="72"/>
                  </a:cubicBezTo>
                  <a:cubicBezTo>
                    <a:pt x="208" y="57"/>
                    <a:pt x="200" y="40"/>
                    <a:pt x="176" y="40"/>
                  </a:cubicBezTo>
                  <a:cubicBezTo>
                    <a:pt x="170" y="40"/>
                    <a:pt x="170" y="40"/>
                    <a:pt x="170" y="40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58" y="19"/>
                    <a:pt x="138" y="8"/>
                    <a:pt x="116" y="8"/>
                  </a:cubicBezTo>
                  <a:cubicBezTo>
                    <a:pt x="83" y="8"/>
                    <a:pt x="56" y="35"/>
                    <a:pt x="56" y="6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8" y="72"/>
                    <a:pt x="8" y="92"/>
                    <a:pt x="8" y="116"/>
                  </a:cubicBezTo>
                  <a:cubicBezTo>
                    <a:pt x="8" y="140"/>
                    <a:pt x="28" y="160"/>
                    <a:pt x="5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68"/>
                    <a:pt x="84" y="168"/>
                    <a:pt x="84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23" y="168"/>
                    <a:pt x="0" y="145"/>
                    <a:pt x="0" y="116"/>
                  </a:cubicBezTo>
                  <a:cubicBezTo>
                    <a:pt x="0" y="89"/>
                    <a:pt x="21" y="66"/>
                    <a:pt x="48" y="64"/>
                  </a:cubicBezTo>
                  <a:cubicBezTo>
                    <a:pt x="50" y="28"/>
                    <a:pt x="80" y="0"/>
                    <a:pt x="116" y="0"/>
                  </a:cubicBezTo>
                  <a:cubicBezTo>
                    <a:pt x="141" y="0"/>
                    <a:pt x="162" y="12"/>
                    <a:pt x="174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99" y="32"/>
                    <a:pt x="214" y="46"/>
                    <a:pt x="216" y="68"/>
                  </a:cubicBezTo>
                  <a:cubicBezTo>
                    <a:pt x="239" y="70"/>
                    <a:pt x="256" y="90"/>
                    <a:pt x="256" y="116"/>
                  </a:cubicBezTo>
                  <a:cubicBezTo>
                    <a:pt x="256" y="145"/>
                    <a:pt x="233" y="168"/>
                    <a:pt x="204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128"/>
            <p:cNvSpPr>
              <a:spLocks noEditPoints="1"/>
            </p:cNvSpPr>
            <p:nvPr/>
          </p:nvSpPr>
          <p:spPr bwMode="auto">
            <a:xfrm>
              <a:off x="279400" y="171450"/>
              <a:ext cx="547687" cy="54768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129"/>
            <p:cNvSpPr>
              <a:spLocks noEditPoints="1"/>
            </p:cNvSpPr>
            <p:nvPr/>
          </p:nvSpPr>
          <p:spPr bwMode="auto">
            <a:xfrm>
              <a:off x="365125" y="257175"/>
              <a:ext cx="376237" cy="376238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130"/>
            <p:cNvSpPr>
              <a:spLocks/>
            </p:cNvSpPr>
            <p:nvPr/>
          </p:nvSpPr>
          <p:spPr bwMode="auto">
            <a:xfrm>
              <a:off x="450850" y="342900"/>
              <a:ext cx="103187" cy="103188"/>
            </a:xfrm>
            <a:custGeom>
              <a:avLst/>
              <a:gdLst>
                <a:gd name="T0" fmla="*/ 8 w 24"/>
                <a:gd name="T1" fmla="*/ 24 h 24"/>
                <a:gd name="T2" fmla="*/ 0 w 24"/>
                <a:gd name="T3" fmla="*/ 24 h 24"/>
                <a:gd name="T4" fmla="*/ 24 w 24"/>
                <a:gd name="T5" fmla="*/ 0 h 24"/>
                <a:gd name="T6" fmla="*/ 24 w 24"/>
                <a:gd name="T7" fmla="*/ 8 h 24"/>
                <a:gd name="T8" fmla="*/ 8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8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131"/>
            <p:cNvSpPr>
              <a:spLocks/>
            </p:cNvSpPr>
            <p:nvPr/>
          </p:nvSpPr>
          <p:spPr bwMode="auto">
            <a:xfrm>
              <a:off x="468313" y="685800"/>
              <a:ext cx="169862" cy="411163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76 h 96"/>
                <a:gd name="T4" fmla="*/ 0 w 40"/>
                <a:gd name="T5" fmla="*/ 0 h 96"/>
                <a:gd name="T6" fmla="*/ 8 w 40"/>
                <a:gd name="T7" fmla="*/ 0 h 96"/>
                <a:gd name="T8" fmla="*/ 8 w 40"/>
                <a:gd name="T9" fmla="*/ 76 h 96"/>
                <a:gd name="T10" fmla="*/ 20 w 40"/>
                <a:gd name="T11" fmla="*/ 88 h 96"/>
                <a:gd name="T12" fmla="*/ 32 w 40"/>
                <a:gd name="T13" fmla="*/ 76 h 96"/>
                <a:gd name="T14" fmla="*/ 32 w 40"/>
                <a:gd name="T15" fmla="*/ 0 h 96"/>
                <a:gd name="T16" fmla="*/ 40 w 40"/>
                <a:gd name="T17" fmla="*/ 0 h 96"/>
                <a:gd name="T18" fmla="*/ 40 w 40"/>
                <a:gd name="T19" fmla="*/ 76 h 96"/>
                <a:gd name="T20" fmla="*/ 20 w 40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9" y="96"/>
                    <a:pt x="0" y="87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83"/>
                    <a:pt x="13" y="88"/>
                    <a:pt x="20" y="88"/>
                  </a:cubicBezTo>
                  <a:cubicBezTo>
                    <a:pt x="27" y="88"/>
                    <a:pt x="32" y="83"/>
                    <a:pt x="32" y="7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87"/>
                    <a:pt x="31" y="96"/>
                    <a:pt x="2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Rectangle 132"/>
            <p:cNvSpPr>
              <a:spLocks noChangeArrowheads="1"/>
            </p:cNvSpPr>
            <p:nvPr/>
          </p:nvSpPr>
          <p:spPr bwMode="auto">
            <a:xfrm>
              <a:off x="536575" y="8223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ectangle 133"/>
            <p:cNvSpPr>
              <a:spLocks noChangeArrowheads="1"/>
            </p:cNvSpPr>
            <p:nvPr/>
          </p:nvSpPr>
          <p:spPr bwMode="auto">
            <a:xfrm>
              <a:off x="536575" y="89058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ectangle 134"/>
            <p:cNvSpPr>
              <a:spLocks noChangeArrowheads="1"/>
            </p:cNvSpPr>
            <p:nvPr/>
          </p:nvSpPr>
          <p:spPr bwMode="auto">
            <a:xfrm>
              <a:off x="536575" y="95885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10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rgbClr val="505FF0">
              <a:alpha val="49804"/>
            </a:srgb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54173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rgbClr val="5178B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6163" y="7892650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18206475" y="8100901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7261556" y="8100901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717937"/>
            <a:ext cx="18249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6145151"/>
            <a:ext cx="4673296" cy="157716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treg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m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tótip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gest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roll-out vi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i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u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ceito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A93E7C-B20B-DB4C-8C74-7F6A9AFA07C0}"/>
              </a:ext>
            </a:extLst>
          </p:cNvPr>
          <p:cNvSpPr txBox="1"/>
          <p:nvPr/>
        </p:nvSpPr>
        <p:spPr>
          <a:xfrm>
            <a:off x="3472232" y="5148828"/>
            <a:ext cx="54213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/>
                </a:solidFill>
                <a:latin typeface="Fira Sans" panose="020B0503050000020004" pitchFamily="34" charset="0"/>
              </a:rPr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D6638B0-9D71-EA4F-961B-22E94769E769}"/>
              </a:ext>
            </a:extLst>
          </p:cNvPr>
          <p:cNvSpPr txBox="1"/>
          <p:nvPr/>
        </p:nvSpPr>
        <p:spPr>
          <a:xfrm>
            <a:off x="8043272" y="8672850"/>
            <a:ext cx="5822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  <a:latin typeface="Fira Sans" panose="020B0503050000020004" pitchFamily="34" charset="0"/>
              </a:rPr>
              <a:t>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FE2B65A-4C3A-F246-AD62-9636254E441A}"/>
                </a:ext>
              </a:extLst>
            </p:cNvPr>
            <p:cNvSpPr txBox="1"/>
            <p:nvPr/>
          </p:nvSpPr>
          <p:spPr>
            <a:xfrm>
              <a:off x="13581225" y="7011622"/>
              <a:ext cx="58541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000" b="1" dirty="0">
                  <a:solidFill>
                    <a:schemeClr val="accent4"/>
                  </a:solidFill>
                  <a:latin typeface="Fira Sans" panose="020B0503050000020004" pitchFamily="34" charset="0"/>
                </a:rPr>
                <a:t>3</a:t>
              </a: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E4565AD6-E2A0-5944-8718-38FA2270A6BC}"/>
              </a:ext>
            </a:extLst>
          </p:cNvPr>
          <p:cNvSpPr txBox="1"/>
          <p:nvPr/>
        </p:nvSpPr>
        <p:spPr>
          <a:xfrm>
            <a:off x="19003422" y="8710617"/>
            <a:ext cx="6190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5"/>
                </a:solidFill>
                <a:latin typeface="Fira Sans" panose="020B0503050000020004" pitchFamily="34" charset="0"/>
              </a:rPr>
              <a:t>4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84315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4771449"/>
            <a:ext cx="4673296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enh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tilizanc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 CANVA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4533473"/>
            <a:ext cx="172893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4908744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cionar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m bas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m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bilidad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poníveis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78901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7" y="3021061"/>
            <a:ext cx="5831593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s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incipai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resentad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time do SINE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11">
            <a:extLst>
              <a:ext uri="{FF2B5EF4-FFF2-40B4-BE49-F238E27FC236}">
                <a16:creationId xmlns:a16="http://schemas.microsoft.com/office/drawing/2014/main" id="{643E29F8-F009-4FBD-A286-E20A3A4099FC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de </a:t>
            </a:r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Desenvolviment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222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36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>
            <a:extLst>
              <a:ext uri="{FF2B5EF4-FFF2-40B4-BE49-F238E27FC236}">
                <a16:creationId xmlns:a16="http://schemas.microsoft.com/office/drawing/2014/main" id="{AA49E304-9568-47DD-AA43-7B91266BB6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837114">
            <a:off x="-1940398" y="5652283"/>
            <a:ext cx="10448294" cy="11206836"/>
          </a:xfrm>
          <a:prstGeom prst="rect">
            <a:avLst/>
          </a:prstGeom>
        </p:spPr>
      </p:pic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FF8903-03E6-4FD4-A7DD-AAFD5DF68ED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710" y="7559668"/>
            <a:ext cx="8336885" cy="5199407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Imersã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pic>
        <p:nvPicPr>
          <p:cNvPr id="4" name="Espaço Reservado para Imagem 76">
            <a:extLst>
              <a:ext uri="{FF2B5EF4-FFF2-40B4-BE49-F238E27FC236}">
                <a16:creationId xmlns:a16="http://schemas.microsoft.com/office/drawing/2014/main" id="{087B592E-370C-470A-81FC-716B636B688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395595" y="925743"/>
            <a:ext cx="10210801" cy="10533438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Busca inicial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Trabalhadores têm dificuldade em escolher os objetivos profissionais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areament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 cruzamento pela CBO é complexo e, com frequência, pouco asser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s trabalhadores só conseguem visualizar as vagas disponíveis se houver pareamento de </a:t>
            </a:r>
            <a:r>
              <a:rPr lang="pt-BR" sz="3200" dirty="0" err="1">
                <a:solidFill>
                  <a:schemeClr val="bg1"/>
                </a:solidFill>
                <a:latin typeface="Segoe Light"/>
              </a:rPr>
              <a:t>CBOs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, inclusive no caso de vagas que não exigem experiência</a:t>
            </a:r>
          </a:p>
          <a:p>
            <a:r>
              <a:rPr lang="pt-BR" sz="3200" dirty="0">
                <a:solidFill>
                  <a:schemeClr val="bg1"/>
                </a:solidFill>
                <a:latin typeface="Segoe Light"/>
              </a:rPr>
              <a:t>Empresas têm dificuldades para encontrar candidatos com deficiência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rocesso sele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CC391459-770A-44B5-9D02-9C2186AD9053}"/>
              </a:ext>
            </a:extLst>
          </p:cNvPr>
          <p:cNvSpPr/>
          <p:nvPr/>
        </p:nvSpPr>
        <p:spPr>
          <a:xfrm>
            <a:off x="4998417" y="6721254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i="1" dirty="0">
                <a:solidFill>
                  <a:schemeClr val="tx2"/>
                </a:solidFill>
                <a:latin typeface="Segoe Light"/>
              </a:rPr>
              <a:t>Nosso racional</a:t>
            </a:r>
            <a:endParaRPr lang="pt-BR" sz="3200" i="1" dirty="0">
              <a:solidFill>
                <a:schemeClr val="tx2"/>
              </a:solidFill>
              <a:latin typeface="Sego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2183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65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tângulo 18">
            <a:extLst>
              <a:ext uri="{FF2B5EF4-FFF2-40B4-BE49-F238E27FC236}">
                <a16:creationId xmlns:a16="http://schemas.microsoft.com/office/drawing/2014/main" id="{31175C85-567A-4AE8-B507-591B22E7B4EB}"/>
              </a:ext>
            </a:extLst>
          </p:cNvPr>
          <p:cNvSpPr/>
          <p:nvPr/>
        </p:nvSpPr>
        <p:spPr>
          <a:xfrm>
            <a:off x="623103" y="4575927"/>
            <a:ext cx="7705888" cy="7444624"/>
          </a:xfrm>
          <a:prstGeom prst="rect">
            <a:avLst/>
          </a:prstGeom>
          <a:noFill/>
          <a:ln>
            <a:solidFill>
              <a:srgbClr val="2585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mers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nálise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critiv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BA044893-B341-4AFB-A40A-D1A9639265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8345909"/>
              </p:ext>
            </p:extLst>
          </p:nvPr>
        </p:nvGraphicFramePr>
        <p:xfrm>
          <a:off x="1076438" y="6301408"/>
          <a:ext cx="6471512" cy="5031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Retângulo 21">
            <a:extLst>
              <a:ext uri="{FF2B5EF4-FFF2-40B4-BE49-F238E27FC236}">
                <a16:creationId xmlns:a16="http://schemas.microsoft.com/office/drawing/2014/main" id="{84E5560D-C3A6-4CA6-9CC9-1C4493C7285B}"/>
              </a:ext>
            </a:extLst>
          </p:cNvPr>
          <p:cNvSpPr/>
          <p:nvPr/>
        </p:nvSpPr>
        <p:spPr>
          <a:xfrm>
            <a:off x="623103" y="4568778"/>
            <a:ext cx="7705888" cy="646330"/>
          </a:xfrm>
          <a:prstGeom prst="rect">
            <a:avLst/>
          </a:prstGeom>
          <a:gradFill>
            <a:gsLst>
              <a:gs pos="49000">
                <a:srgbClr val="4E9EE0"/>
              </a:gs>
              <a:gs pos="46000">
                <a:srgbClr val="2585D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111">
            <a:extLst>
              <a:ext uri="{FF2B5EF4-FFF2-40B4-BE49-F238E27FC236}">
                <a16:creationId xmlns:a16="http://schemas.microsoft.com/office/drawing/2014/main" id="{BCE6F4A0-578F-4906-918A-817AF7E767A5}"/>
              </a:ext>
            </a:extLst>
          </p:cNvPr>
          <p:cNvSpPr txBox="1"/>
          <p:nvPr/>
        </p:nvSpPr>
        <p:spPr>
          <a:xfrm>
            <a:off x="732007" y="4568778"/>
            <a:ext cx="70403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>
                <a:solidFill>
                  <a:schemeClr val="bg1"/>
                </a:solidFill>
                <a:latin typeface="Fira Sans" panose="020B0503050000020004" pitchFamily="34" charset="0"/>
              </a:rPr>
              <a:t>Blá</a:t>
            </a:r>
            <a:r>
              <a:rPr lang="en-US" b="1" dirty="0">
                <a:solidFill>
                  <a:schemeClr val="bg1"/>
                </a:solidFill>
                <a:latin typeface="Fira Sans" panose="020B05030500000200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Fira Sans" panose="020B0503050000020004" pitchFamily="34" charset="0"/>
              </a:rPr>
              <a:t>Blá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CEF0ED83-80DA-4A8B-90AD-6000991A7E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2591791"/>
              </p:ext>
            </p:extLst>
          </p:nvPr>
        </p:nvGraphicFramePr>
        <p:xfrm>
          <a:off x="11122835" y="1556603"/>
          <a:ext cx="7106760" cy="4665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7463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12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F59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86FF64C-594A-44B4-954C-C1F362CF5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1092" y="9975376"/>
            <a:ext cx="19872793" cy="3740623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11024" y="1860175"/>
            <a:ext cx="4586512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sultados da Etapa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A01FCAB-E720-4299-B889-15C9AD61BE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09271" y="8084563"/>
            <a:ext cx="3695700" cy="6858000"/>
          </a:xfrm>
          <a:prstGeom prst="rect">
            <a:avLst/>
          </a:prstGeom>
          <a:effectLst>
            <a:outerShdw blurRad="330200" dist="673100" dir="2700000" sx="104000" sy="104000" algn="tl" rotWithShape="0">
              <a:prstClr val="black">
                <a:alpha val="9000"/>
              </a:prstClr>
            </a:outerShdw>
          </a:effec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dotadas</a:t>
            </a:r>
          </a:p>
          <a:p>
            <a:r>
              <a:rPr lang="pt-BR" sz="2400" dirty="0">
                <a:solidFill>
                  <a:srgbClr val="2889D3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Modelo preditivo por área geográfica e ocupação para a predição à partir da base do CAGED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Databricks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versão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comunidadepar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lidar com o volume de informaçõe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A entrega final seria uma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api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que consulta um algoritmo de priorização de vagas e entrega resultado para trabalhadores, empregadores e stakeholders</a:t>
            </a:r>
          </a:p>
          <a:p>
            <a:endParaRPr lang="pt-BR" sz="2400" dirty="0">
              <a:solidFill>
                <a:schemeClr val="tx2"/>
              </a:solidFill>
              <a:latin typeface="Segoe Light"/>
            </a:endParaRPr>
          </a:p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bandonada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Informações sobre o seguro desemprego, por serem dados agregados não contribuem para construção d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da RAIS: entendemos que o CAGED de 2019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possui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as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necessárias para a modelagem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CAGED 2020: Poucas informações e dados fortemente impactados pela Covid-19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s bases do SINE tanto de vagas como de trabalhadores para treinar um modelo d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learning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, pois, devido à presença de informações sensíveis, o volume de dados disponibilizados é insuficiente</a:t>
            </a:r>
          </a:p>
        </p:txBody>
      </p:sp>
    </p:spTree>
    <p:extLst>
      <p:ext uri="{BB962C8B-B14F-4D97-AF65-F5344CB8AC3E}">
        <p14:creationId xmlns:p14="http://schemas.microsoft.com/office/powerpoint/2010/main" val="1980443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2">
            <a:extLst>
              <a:ext uri="{FF2B5EF4-FFF2-40B4-BE49-F238E27FC236}">
                <a16:creationId xmlns:a16="http://schemas.microsoft.com/office/drawing/2014/main" id="{7F587C35-9BA9-4942-B1C4-0CB42309247A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111">
            <a:extLst>
              <a:ext uri="{FF2B5EF4-FFF2-40B4-BE49-F238E27FC236}">
                <a16:creationId xmlns:a16="http://schemas.microsoft.com/office/drawing/2014/main" id="{AAFFD369-1D8A-45EC-86A9-60E2DA6B0A45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CANVA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4A68459-B74A-4E2F-8FBE-886A754864FC}"/>
              </a:ext>
            </a:extLst>
          </p:cNvPr>
          <p:cNvSpPr/>
          <p:nvPr/>
        </p:nvSpPr>
        <p:spPr>
          <a:xfrm>
            <a:off x="295398" y="1821139"/>
            <a:ext cx="134603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O processo de ideação foi feito seguindo o seguinte CANVAS com o objetivo de direcionar a prototipação e desenvolvimento da soluçã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E6240F4-6F54-4663-9678-959889E0CF4B}"/>
              </a:ext>
            </a:extLst>
          </p:cNvPr>
          <p:cNvSpPr/>
          <p:nvPr/>
        </p:nvSpPr>
        <p:spPr>
          <a:xfrm>
            <a:off x="285850" y="3000298"/>
            <a:ext cx="5124350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1978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179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dot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889D3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odelo preditivo por área geográfica e ocupação para a predição à partir da base do CAGED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Databricks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versã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omunidadepar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lidar com o volume de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entrega final seria uma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pi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que consulta um algoritmo de priorização de vagas e entrega resultado para trabalhadores, empregadores e stakeholder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bandon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formações sobre o seguro desemprego, por serem dados agregados não contribuem para construção do model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da RAIS: entendemos que o CAGED de 2019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ssui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s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necessárias para a modelagem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CAGED 2020: Poucas informações e dados fortemente impactados pela Covid-19</a:t>
            </a:r>
          </a:p>
        </p:txBody>
      </p:sp>
      <p:pic>
        <p:nvPicPr>
          <p:cNvPr id="7" name="Gráfico 6" descr="Aspiração">
            <a:extLst>
              <a:ext uri="{FF2B5EF4-FFF2-40B4-BE49-F238E27FC236}">
                <a16:creationId xmlns:a16="http://schemas.microsoft.com/office/drawing/2014/main" id="{7993A122-DBF1-425F-B85E-AFF06138D0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998825" y="2631562"/>
            <a:ext cx="536575" cy="536575"/>
          </a:xfrm>
          <a:prstGeom prst="rect">
            <a:avLst/>
          </a:prstGeom>
        </p:spPr>
      </p:pic>
      <p:pic>
        <p:nvPicPr>
          <p:cNvPr id="27" name="Gráfico 26" descr="Desconectado">
            <a:extLst>
              <a:ext uri="{FF2B5EF4-FFF2-40B4-BE49-F238E27FC236}">
                <a16:creationId xmlns:a16="http://schemas.microsoft.com/office/drawing/2014/main" id="{BA798ADB-3058-4659-B846-31A12A3E4E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267112" y="5870360"/>
            <a:ext cx="634899" cy="634899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as bases do SINE tanto de vagas como de trabalhadores para treinar um modelo de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achine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learning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09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179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Base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dot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889D3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odelo preditivo por área geográfica e ocupação para a predição à partir da base do CAGED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Databricks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versão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omunidadepar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lidar com o volume de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entrega final seria uma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pi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que consulta um algoritmo de priorização de vagas e entrega resultado para trabalhadores, empregadores e stakeholder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deias abandonada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Informações sobre o seguro desemprego, por serem dados agregados não contribuem para construção do modelo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da RAIS: entendemos que o CAGED de 2019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ssuia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s informações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necessárias para a modelagem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SE CAGED 2020: Poucas informações e dados fortemente impactados pela Covid-19</a:t>
            </a:r>
          </a:p>
        </p:txBody>
      </p:sp>
      <p:pic>
        <p:nvPicPr>
          <p:cNvPr id="7" name="Gráfico 6" descr="Aspiração">
            <a:extLst>
              <a:ext uri="{FF2B5EF4-FFF2-40B4-BE49-F238E27FC236}">
                <a16:creationId xmlns:a16="http://schemas.microsoft.com/office/drawing/2014/main" id="{7993A122-DBF1-425F-B85E-AFF06138D0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998825" y="2631562"/>
            <a:ext cx="536575" cy="536575"/>
          </a:xfrm>
          <a:prstGeom prst="rect">
            <a:avLst/>
          </a:prstGeom>
        </p:spPr>
      </p:pic>
      <p:pic>
        <p:nvPicPr>
          <p:cNvPr id="27" name="Gráfico 26" descr="Desconectado">
            <a:extLst>
              <a:ext uri="{FF2B5EF4-FFF2-40B4-BE49-F238E27FC236}">
                <a16:creationId xmlns:a16="http://schemas.microsoft.com/office/drawing/2014/main" id="{BA798ADB-3058-4659-B846-31A12A3E4E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267112" y="5870360"/>
            <a:ext cx="634899" cy="634899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2381D2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_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Utilização das bases do SINE tanto de vagas como de trabalhadores para treinar um modelo de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machine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learning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64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cyotCWh_67Xbbk4gZ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0L03lUldj8N8ur146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TIFY - Mercury - Light">
      <a:dk1>
        <a:srgbClr val="3E3E3E"/>
      </a:dk1>
      <a:lt1>
        <a:srgbClr val="FFFFFF"/>
      </a:lt1>
      <a:dk2>
        <a:srgbClr val="1F1F1F"/>
      </a:dk2>
      <a:lt2>
        <a:srgbClr val="FFFFFF"/>
      </a:lt2>
      <a:accent1>
        <a:srgbClr val="2D3F63"/>
      </a:accent1>
      <a:accent2>
        <a:srgbClr val="179B98"/>
      </a:accent2>
      <a:accent3>
        <a:srgbClr val="713852"/>
      </a:accent3>
      <a:accent4>
        <a:srgbClr val="F57A7B"/>
      </a:accent4>
      <a:accent5>
        <a:srgbClr val="F8B2A2"/>
      </a:accent5>
      <a:accent6>
        <a:srgbClr val="606060"/>
      </a:accent6>
      <a:hlink>
        <a:srgbClr val="58ACC0"/>
      </a:hlink>
      <a:folHlink>
        <a:srgbClr val="315F6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4C5A50796F43499B37EDDB1E582CB1" ma:contentTypeVersion="0" ma:contentTypeDescription="Crie um novo documento." ma:contentTypeScope="" ma:versionID="9641a6b48687011cad138511b3fb69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8f746c3a1c47dbaea02d3be93aa9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3FAA03-2459-4579-ADE4-AA19FFBACD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97022AC-283A-48BB-B170-EF4ED542FE1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BCF1CEE-39F5-4C61-B8BC-E811346573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BB6B025-EE7B-B14D-8EC8-5D2DE61B865A}tf16401378</Template>
  <TotalTime>83955</TotalTime>
  <Words>1123</Words>
  <Application>Microsoft Office PowerPoint</Application>
  <PresentationFormat>Personalizar</PresentationFormat>
  <Paragraphs>155</Paragraphs>
  <Slides>1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Fira Sans</vt:lpstr>
      <vt:lpstr>Fira Sans Light</vt:lpstr>
      <vt:lpstr>Segoe Light</vt:lpstr>
      <vt:lpstr>Segoe UI</vt:lpstr>
      <vt:lpstr>Segoe UI Light</vt:lpstr>
      <vt:lpstr>Office Theme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Ivan Ormenesse</cp:lastModifiedBy>
  <cp:revision>15069</cp:revision>
  <dcterms:created xsi:type="dcterms:W3CDTF">2014-11-12T21:47:38Z</dcterms:created>
  <dcterms:modified xsi:type="dcterms:W3CDTF">2020-06-14T18:57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C5A50796F43499B37EDDB1E582CB1</vt:lpwstr>
  </property>
</Properties>
</file>